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sldIdLst>
    <p:sldId id="2147482658" r:id="rId5"/>
    <p:sldId id="2147482657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23C"/>
    <a:srgbClr val="FFFFFF"/>
    <a:srgbClr val="00EB81"/>
    <a:srgbClr val="E6DCFF"/>
    <a:srgbClr val="0041F0"/>
    <a:srgbClr val="DCAFFF"/>
    <a:srgbClr val="FF50A0"/>
    <a:srgbClr val="FF3246"/>
    <a:srgbClr val="00FFFF"/>
    <a:srgbClr val="D4D4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021F68-0494-496A-BD4B-43C0DD56B880}" v="32" dt="2025-10-31T21:53:34.360"/>
    <p1510:client id="{F8B6DB93-B16F-4284-82B1-E93DAFE73FFA}" v="1" dt="2025-10-31T23:27:17.724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4924" autoAdjust="0"/>
  </p:normalViewPr>
  <p:slideViewPr>
    <p:cSldViewPr snapToGrid="0" showGuides="1">
      <p:cViewPr varScale="1">
        <p:scale>
          <a:sx n="70" d="100"/>
          <a:sy n="70" d="100"/>
        </p:scale>
        <p:origin x="1157" y="2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141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0/3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FF053D-F28D-430E-0239-CE8ED65664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FF053D-F28D-430E-0239-CE8ED6566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C06DB281-EA53-C29C-C70A-13D0082F3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C1B7B8-2FCE-B823-1046-0985C007FC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0FA015-B515-8D42-24DE-DB142CE72A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313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791592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2FA907-42B9-6FA1-C4DF-A540BFE35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18C3AE-678A-48F5-EE59-84E1AE2DC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Inver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420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08927"/>
            <a:ext cx="11430000" cy="324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endParaRPr lang="pt-BR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650247"/>
            <a:ext cx="11430000" cy="432000"/>
          </a:xfrm>
        </p:spPr>
        <p:txBody>
          <a:bodyPr vert="horz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F9C570-8ADD-BDD4-0CD9-C5A9C02D1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963760-62E3-11BA-AEE9-E17FF19CD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9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2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147848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9FC1387-F76A-5CD9-1471-AB709200A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9038AC-B619-5EB1-8D41-D4C38DBF5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4469A7-C007-9466-EA28-F04CC2C2F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825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2B6B66-FB75-271B-FA63-2A6910A3EC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8762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B6B66-FB75-271B-FA63-2A6910A3EC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BC61A9-92B1-2D35-4680-3DE1FE9AB5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F3B625-43D1-998E-66A4-B8CE5FAFEB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738C665-347F-7FC8-C379-04F29B199A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5AB561-81B9-2F67-EA29-93A11DBDD0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9505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499A4D-E1EC-608F-9006-A468770F6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5529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499A4D-E1EC-608F-9006-A468770F6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2pt, min 28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US" dirty="0"/>
              <a:t>Copyright © 2025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745" r:id="rId2"/>
    <p:sldLayoutId id="2147483747" r:id="rId3"/>
    <p:sldLayoutId id="2147483746" r:id="rId4"/>
    <p:sldLayoutId id="2147483741" r:id="rId5"/>
    <p:sldLayoutId id="2147483748" r:id="rId6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600" b="0" kern="1200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EE307BA-0BA9-689A-B5D3-F8C17CBE6E2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F192D1-3BE2-0B7E-369C-D2EDCAF16C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Rounded Rectangle">
            <a:extLst>
              <a:ext uri="{FF2B5EF4-FFF2-40B4-BE49-F238E27FC236}">
                <a16:creationId xmlns:a16="http://schemas.microsoft.com/office/drawing/2014/main" id="{E2BCE43C-4B69-544F-9F3A-810FBC51F40B}"/>
              </a:ext>
            </a:extLst>
          </p:cNvPr>
          <p:cNvSpPr/>
          <p:nvPr/>
        </p:nvSpPr>
        <p:spPr>
          <a:xfrm>
            <a:off x="461435" y="1508239"/>
            <a:ext cx="2628820" cy="3636000"/>
          </a:xfrm>
          <a:prstGeom prst="roundRect">
            <a:avLst>
              <a:gd name="adj" fmla="val 4146"/>
            </a:avLst>
          </a:prstGeom>
          <a:solidFill>
            <a:srgbClr val="FFFFFF"/>
          </a:solidFill>
          <a:ln w="12700">
            <a:miter lim="400000"/>
          </a:ln>
          <a:effectLst>
            <a:outerShdw blurRad="1270000" dist="556810" dir="2700000" rotWithShape="0">
              <a:srgbClr val="000000">
                <a:alpha val="14648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5" name="Rounded Rectangle">
            <a:extLst>
              <a:ext uri="{FF2B5EF4-FFF2-40B4-BE49-F238E27FC236}">
                <a16:creationId xmlns:a16="http://schemas.microsoft.com/office/drawing/2014/main" id="{0892DB26-A2CC-D52D-2700-F5A2998123C6}"/>
              </a:ext>
            </a:extLst>
          </p:cNvPr>
          <p:cNvSpPr/>
          <p:nvPr/>
        </p:nvSpPr>
        <p:spPr>
          <a:xfrm>
            <a:off x="461435" y="1500452"/>
            <a:ext cx="2628820" cy="1872092"/>
          </a:xfrm>
          <a:prstGeom prst="roundRect">
            <a:avLst>
              <a:gd name="adj" fmla="val 4711"/>
            </a:avLst>
          </a:prstGeom>
          <a:solidFill>
            <a:srgbClr val="460073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1785478A-4FDB-781D-847C-AA33AB1B787C}"/>
              </a:ext>
            </a:extLst>
          </p:cNvPr>
          <p:cNvSpPr/>
          <p:nvPr/>
        </p:nvSpPr>
        <p:spPr>
          <a:xfrm>
            <a:off x="6293523" y="1988703"/>
            <a:ext cx="2628820" cy="1379398"/>
          </a:xfrm>
          <a:prstGeom prst="rect">
            <a:avLst/>
          </a:prstGeom>
          <a:solidFill>
            <a:srgbClr val="A055F5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7" name="Estratégias e consultoria setorial e de funções de negócio">
            <a:extLst>
              <a:ext uri="{FF2B5EF4-FFF2-40B4-BE49-F238E27FC236}">
                <a16:creationId xmlns:a16="http://schemas.microsoft.com/office/drawing/2014/main" id="{8974FE85-D002-3552-60DE-70BA9E9098DC}"/>
              </a:ext>
            </a:extLst>
          </p:cNvPr>
          <p:cNvSpPr txBox="1"/>
          <p:nvPr/>
        </p:nvSpPr>
        <p:spPr>
          <a:xfrm>
            <a:off x="526311" y="3434049"/>
            <a:ext cx="2427696" cy="16326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>
            <a:spAutoFit/>
          </a:bodyPr>
          <a:lstStyle>
            <a:lvl1pPr>
              <a:lnSpc>
                <a:spcPct val="120000"/>
              </a:lnSpc>
              <a:defRPr sz="2600" spc="-52"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Estratégia de Negócios / Tecnologia</a:t>
            </a:r>
          </a:p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Consultoria por Indústria / Função</a:t>
            </a:r>
          </a:p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Assessoria de Tecnologia</a:t>
            </a:r>
          </a:p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Inteligência Aplicada</a:t>
            </a:r>
          </a:p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Núcleos de Inovação</a:t>
            </a:r>
          </a:p>
        </p:txBody>
      </p:sp>
      <p:sp>
        <p:nvSpPr>
          <p:cNvPr id="8" name="Rounded Rectangle">
            <a:extLst>
              <a:ext uri="{FF2B5EF4-FFF2-40B4-BE49-F238E27FC236}">
                <a16:creationId xmlns:a16="http://schemas.microsoft.com/office/drawing/2014/main" id="{F434808E-273F-6FF6-8B4D-7B9BC9674A0A}"/>
              </a:ext>
            </a:extLst>
          </p:cNvPr>
          <p:cNvSpPr/>
          <p:nvPr/>
        </p:nvSpPr>
        <p:spPr>
          <a:xfrm>
            <a:off x="6288445" y="1508239"/>
            <a:ext cx="2628820" cy="3636000"/>
          </a:xfrm>
          <a:prstGeom prst="roundRect">
            <a:avLst>
              <a:gd name="adj" fmla="val 4146"/>
            </a:avLst>
          </a:prstGeom>
          <a:solidFill>
            <a:srgbClr val="FFFFFF"/>
          </a:solidFill>
          <a:ln w="12700">
            <a:miter lim="400000"/>
          </a:ln>
          <a:effectLst>
            <a:outerShdw blurRad="1270000" dist="556810" dir="2700000" rotWithShape="0">
              <a:srgbClr val="000000">
                <a:alpha val="14648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9" name="Rounded Rectangle">
            <a:extLst>
              <a:ext uri="{FF2B5EF4-FFF2-40B4-BE49-F238E27FC236}">
                <a16:creationId xmlns:a16="http://schemas.microsoft.com/office/drawing/2014/main" id="{DEB70D90-CC40-75DD-E1BC-BB0974E39278}"/>
              </a:ext>
            </a:extLst>
          </p:cNvPr>
          <p:cNvSpPr/>
          <p:nvPr/>
        </p:nvSpPr>
        <p:spPr>
          <a:xfrm>
            <a:off x="6293523" y="1512049"/>
            <a:ext cx="2628820" cy="1860496"/>
          </a:xfrm>
          <a:prstGeom prst="roundRect">
            <a:avLst>
              <a:gd name="adj" fmla="val 5385"/>
            </a:avLst>
          </a:prstGeom>
          <a:solidFill>
            <a:srgbClr val="A055F5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ctr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10" name="Strategy &amp; Consulting">
            <a:extLst>
              <a:ext uri="{FF2B5EF4-FFF2-40B4-BE49-F238E27FC236}">
                <a16:creationId xmlns:a16="http://schemas.microsoft.com/office/drawing/2014/main" id="{99148C47-FBB2-483C-9E9F-EB2FE3E234D6}"/>
              </a:ext>
            </a:extLst>
          </p:cNvPr>
          <p:cNvSpPr txBox="1"/>
          <p:nvPr/>
        </p:nvSpPr>
        <p:spPr>
          <a:xfrm>
            <a:off x="523762" y="1531088"/>
            <a:ext cx="2567788" cy="379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50800" tIns="50800" rIns="50800" bIns="50800">
            <a:spAutoFit/>
          </a:bodyPr>
          <a:lstStyle>
            <a:lvl1pPr algn="l">
              <a:defRPr sz="3200" spc="-64">
                <a:solidFill>
                  <a:srgbClr val="F0EDED"/>
                </a:solidFill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-64" normalizeH="0" baseline="0" noProof="0">
                <a:ln>
                  <a:noFill/>
                </a:ln>
                <a:solidFill>
                  <a:srgbClr val="F0EDED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trategy &amp; Consulting</a:t>
            </a:r>
          </a:p>
        </p:txBody>
      </p:sp>
      <p:sp>
        <p:nvSpPr>
          <p:cNvPr id="11" name="Operations">
            <a:extLst>
              <a:ext uri="{FF2B5EF4-FFF2-40B4-BE49-F238E27FC236}">
                <a16:creationId xmlns:a16="http://schemas.microsoft.com/office/drawing/2014/main" id="{756822F8-43B4-54A5-25BD-35092E08002F}"/>
              </a:ext>
            </a:extLst>
          </p:cNvPr>
          <p:cNvSpPr txBox="1"/>
          <p:nvPr/>
        </p:nvSpPr>
        <p:spPr>
          <a:xfrm>
            <a:off x="6473925" y="1531088"/>
            <a:ext cx="2268017" cy="379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>
            <a:spAutoFit/>
          </a:bodyPr>
          <a:lstStyle>
            <a:lvl1pPr algn="l">
              <a:defRPr sz="3200" spc="-64">
                <a:solidFill>
                  <a:srgbClr val="F0EDED"/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-64" normalizeH="0" baseline="0" noProof="0">
                <a:ln>
                  <a:noFill/>
                </a:ln>
                <a:solidFill>
                  <a:srgbClr val="F0EDED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Operations</a:t>
            </a:r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6DCD961A-A54D-61A2-816B-B9EAD9BA7085}"/>
              </a:ext>
            </a:extLst>
          </p:cNvPr>
          <p:cNvSpPr/>
          <p:nvPr/>
        </p:nvSpPr>
        <p:spPr>
          <a:xfrm>
            <a:off x="6505121" y="3025182"/>
            <a:ext cx="2195468" cy="174924"/>
          </a:xfrm>
          <a:prstGeom prst="rect">
            <a:avLst/>
          </a:prstGeom>
          <a:solidFill>
            <a:srgbClr val="F0EDED">
              <a:alpha val="81750"/>
            </a:srgbClr>
          </a:solidFill>
          <a:ln w="12700" cap="flat">
            <a:noFill/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13" name="Rectangle">
            <a:extLst>
              <a:ext uri="{FF2B5EF4-FFF2-40B4-BE49-F238E27FC236}">
                <a16:creationId xmlns:a16="http://schemas.microsoft.com/office/drawing/2014/main" id="{9E5280F4-7FEC-B279-AB5B-CF9051EDBC05}"/>
              </a:ext>
            </a:extLst>
          </p:cNvPr>
          <p:cNvSpPr/>
          <p:nvPr/>
        </p:nvSpPr>
        <p:spPr>
          <a:xfrm>
            <a:off x="6505121" y="2706203"/>
            <a:ext cx="2195468" cy="174924"/>
          </a:xfrm>
          <a:prstGeom prst="rect">
            <a:avLst/>
          </a:prstGeom>
          <a:solidFill>
            <a:srgbClr val="F0EDED">
              <a:alpha val="64660"/>
            </a:srgbClr>
          </a:solidFill>
          <a:ln w="12700" cap="flat">
            <a:noFill/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14" name="Rectangle">
            <a:extLst>
              <a:ext uri="{FF2B5EF4-FFF2-40B4-BE49-F238E27FC236}">
                <a16:creationId xmlns:a16="http://schemas.microsoft.com/office/drawing/2014/main" id="{C64E3495-44A3-480F-1384-4E107B1E406E}"/>
              </a:ext>
            </a:extLst>
          </p:cNvPr>
          <p:cNvSpPr/>
          <p:nvPr/>
        </p:nvSpPr>
        <p:spPr>
          <a:xfrm>
            <a:off x="6505121" y="2387224"/>
            <a:ext cx="2195468" cy="174924"/>
          </a:xfrm>
          <a:prstGeom prst="rect">
            <a:avLst/>
          </a:prstGeom>
          <a:solidFill>
            <a:srgbClr val="F0EDED">
              <a:alpha val="40866"/>
            </a:srgbClr>
          </a:solidFill>
          <a:ln w="12700" cap="flat">
            <a:noFill/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15" name="Rectangle">
            <a:extLst>
              <a:ext uri="{FF2B5EF4-FFF2-40B4-BE49-F238E27FC236}">
                <a16:creationId xmlns:a16="http://schemas.microsoft.com/office/drawing/2014/main" id="{D2F1D8DA-CDDF-7A43-C940-D524DE0924BD}"/>
              </a:ext>
            </a:extLst>
          </p:cNvPr>
          <p:cNvSpPr/>
          <p:nvPr/>
        </p:nvSpPr>
        <p:spPr>
          <a:xfrm>
            <a:off x="6505121" y="2068245"/>
            <a:ext cx="2195468" cy="174924"/>
          </a:xfrm>
          <a:prstGeom prst="rect">
            <a:avLst/>
          </a:prstGeom>
          <a:solidFill>
            <a:srgbClr val="F0EDED">
              <a:alpha val="19672"/>
            </a:srgbClr>
          </a:solidFill>
          <a:ln w="12700" cap="flat">
            <a:noFill/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16" name="Rounded Rectangle">
            <a:extLst>
              <a:ext uri="{FF2B5EF4-FFF2-40B4-BE49-F238E27FC236}">
                <a16:creationId xmlns:a16="http://schemas.microsoft.com/office/drawing/2014/main" id="{FDFC769B-872B-F302-6E2F-02A7493319A6}"/>
              </a:ext>
            </a:extLst>
          </p:cNvPr>
          <p:cNvSpPr/>
          <p:nvPr/>
        </p:nvSpPr>
        <p:spPr>
          <a:xfrm>
            <a:off x="9201949" y="1508239"/>
            <a:ext cx="2628820" cy="3636000"/>
          </a:xfrm>
          <a:prstGeom prst="roundRect">
            <a:avLst>
              <a:gd name="adj" fmla="val 4146"/>
            </a:avLst>
          </a:prstGeom>
          <a:solidFill>
            <a:srgbClr val="FFFFFF"/>
          </a:solidFill>
          <a:ln w="12700">
            <a:miter lim="400000"/>
          </a:ln>
          <a:effectLst>
            <a:outerShdw blurRad="1270000" dist="556810" dir="2700000" rotWithShape="0">
              <a:srgbClr val="000000">
                <a:alpha val="14648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E637C13A-9D2A-AD14-C97A-EB18A897E885}"/>
              </a:ext>
            </a:extLst>
          </p:cNvPr>
          <p:cNvSpPr/>
          <p:nvPr/>
        </p:nvSpPr>
        <p:spPr>
          <a:xfrm>
            <a:off x="9201949" y="1501802"/>
            <a:ext cx="2628820" cy="1915934"/>
          </a:xfrm>
          <a:prstGeom prst="roundRect">
            <a:avLst>
              <a:gd name="adj" fmla="val 4711"/>
            </a:avLst>
          </a:prstGeom>
          <a:solidFill>
            <a:srgbClr val="A100FF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r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8" name="Technology">
            <a:extLst>
              <a:ext uri="{FF2B5EF4-FFF2-40B4-BE49-F238E27FC236}">
                <a16:creationId xmlns:a16="http://schemas.microsoft.com/office/drawing/2014/main" id="{EFBAE136-450D-6C17-F902-0015B93AB0B8}"/>
              </a:ext>
            </a:extLst>
          </p:cNvPr>
          <p:cNvSpPr txBox="1"/>
          <p:nvPr/>
        </p:nvSpPr>
        <p:spPr>
          <a:xfrm>
            <a:off x="9382350" y="1535640"/>
            <a:ext cx="2268017" cy="379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>
            <a:spAutoFit/>
          </a:bodyPr>
          <a:lstStyle>
            <a:lvl1pPr algn="l">
              <a:defRPr sz="3200" spc="-64">
                <a:solidFill>
                  <a:srgbClr val="F0EDED"/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-64" normalizeH="0" baseline="0" noProof="0">
                <a:ln>
                  <a:noFill/>
                </a:ln>
                <a:solidFill>
                  <a:srgbClr val="F0EDED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echnology</a:t>
            </a:r>
          </a:p>
        </p:txBody>
      </p:sp>
      <p:sp>
        <p:nvSpPr>
          <p:cNvPr id="19" name="Rectangle">
            <a:extLst>
              <a:ext uri="{FF2B5EF4-FFF2-40B4-BE49-F238E27FC236}">
                <a16:creationId xmlns:a16="http://schemas.microsoft.com/office/drawing/2014/main" id="{CAB440BD-B1DD-024A-81BE-3811F3E0F9E0}"/>
              </a:ext>
            </a:extLst>
          </p:cNvPr>
          <p:cNvSpPr/>
          <p:nvPr/>
        </p:nvSpPr>
        <p:spPr>
          <a:xfrm>
            <a:off x="9455771" y="3081305"/>
            <a:ext cx="161326" cy="165606"/>
          </a:xfrm>
          <a:prstGeom prst="rect">
            <a:avLst/>
          </a:prstGeom>
          <a:solidFill>
            <a:srgbClr val="F0EDED">
              <a:alpha val="8175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20" name="Rectangle">
            <a:extLst>
              <a:ext uri="{FF2B5EF4-FFF2-40B4-BE49-F238E27FC236}">
                <a16:creationId xmlns:a16="http://schemas.microsoft.com/office/drawing/2014/main" id="{95743CAD-0FF8-662A-D7AC-E9F288D00CED}"/>
              </a:ext>
            </a:extLst>
          </p:cNvPr>
          <p:cNvSpPr/>
          <p:nvPr/>
        </p:nvSpPr>
        <p:spPr>
          <a:xfrm>
            <a:off x="9782413" y="3081305"/>
            <a:ext cx="161326" cy="165606"/>
          </a:xfrm>
          <a:prstGeom prst="rect">
            <a:avLst/>
          </a:prstGeom>
          <a:solidFill>
            <a:srgbClr val="F0EDED">
              <a:alpha val="8175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21" name="Rectangle">
            <a:extLst>
              <a:ext uri="{FF2B5EF4-FFF2-40B4-BE49-F238E27FC236}">
                <a16:creationId xmlns:a16="http://schemas.microsoft.com/office/drawing/2014/main" id="{1FC31A93-5051-34FD-19B0-2B33B8264A63}"/>
              </a:ext>
            </a:extLst>
          </p:cNvPr>
          <p:cNvSpPr/>
          <p:nvPr/>
        </p:nvSpPr>
        <p:spPr>
          <a:xfrm>
            <a:off x="10109054" y="3081305"/>
            <a:ext cx="161326" cy="165606"/>
          </a:xfrm>
          <a:prstGeom prst="rect">
            <a:avLst/>
          </a:prstGeom>
          <a:solidFill>
            <a:srgbClr val="F0EDED">
              <a:alpha val="8175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22" name="Rectangle">
            <a:extLst>
              <a:ext uri="{FF2B5EF4-FFF2-40B4-BE49-F238E27FC236}">
                <a16:creationId xmlns:a16="http://schemas.microsoft.com/office/drawing/2014/main" id="{460B3766-63B6-C71B-905F-0D59B3BC77F0}"/>
              </a:ext>
            </a:extLst>
          </p:cNvPr>
          <p:cNvSpPr/>
          <p:nvPr/>
        </p:nvSpPr>
        <p:spPr>
          <a:xfrm>
            <a:off x="10109054" y="2779318"/>
            <a:ext cx="161326" cy="165606"/>
          </a:xfrm>
          <a:prstGeom prst="rect">
            <a:avLst/>
          </a:prstGeom>
          <a:solidFill>
            <a:srgbClr val="F0EDED">
              <a:alpha val="6466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23" name="Rectangle">
            <a:extLst>
              <a:ext uri="{FF2B5EF4-FFF2-40B4-BE49-F238E27FC236}">
                <a16:creationId xmlns:a16="http://schemas.microsoft.com/office/drawing/2014/main" id="{B9A5C9BE-F1A4-BEEC-082F-EB42223A21F9}"/>
              </a:ext>
            </a:extLst>
          </p:cNvPr>
          <p:cNvSpPr/>
          <p:nvPr/>
        </p:nvSpPr>
        <p:spPr>
          <a:xfrm>
            <a:off x="10435697" y="3081305"/>
            <a:ext cx="161326" cy="165606"/>
          </a:xfrm>
          <a:prstGeom prst="rect">
            <a:avLst/>
          </a:prstGeom>
          <a:solidFill>
            <a:srgbClr val="F0EDED">
              <a:alpha val="8175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24" name="Rectangle">
            <a:extLst>
              <a:ext uri="{FF2B5EF4-FFF2-40B4-BE49-F238E27FC236}">
                <a16:creationId xmlns:a16="http://schemas.microsoft.com/office/drawing/2014/main" id="{CE6E9647-C973-B455-B0D2-A18F9FBE5CB2}"/>
              </a:ext>
            </a:extLst>
          </p:cNvPr>
          <p:cNvSpPr/>
          <p:nvPr/>
        </p:nvSpPr>
        <p:spPr>
          <a:xfrm>
            <a:off x="10435697" y="2779318"/>
            <a:ext cx="161326" cy="165606"/>
          </a:xfrm>
          <a:prstGeom prst="rect">
            <a:avLst/>
          </a:prstGeom>
          <a:solidFill>
            <a:srgbClr val="F0EDED">
              <a:alpha val="6466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25" name="Rectangle">
            <a:extLst>
              <a:ext uri="{FF2B5EF4-FFF2-40B4-BE49-F238E27FC236}">
                <a16:creationId xmlns:a16="http://schemas.microsoft.com/office/drawing/2014/main" id="{821128FB-985C-63BC-F7BC-D196F15EAEF6}"/>
              </a:ext>
            </a:extLst>
          </p:cNvPr>
          <p:cNvSpPr/>
          <p:nvPr/>
        </p:nvSpPr>
        <p:spPr>
          <a:xfrm>
            <a:off x="10762338" y="3081305"/>
            <a:ext cx="161326" cy="165606"/>
          </a:xfrm>
          <a:prstGeom prst="rect">
            <a:avLst/>
          </a:prstGeom>
          <a:solidFill>
            <a:srgbClr val="F0EDED">
              <a:alpha val="8175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26" name="Rectangle">
            <a:extLst>
              <a:ext uri="{FF2B5EF4-FFF2-40B4-BE49-F238E27FC236}">
                <a16:creationId xmlns:a16="http://schemas.microsoft.com/office/drawing/2014/main" id="{25903244-077D-BBD1-D098-2BB857C90BA3}"/>
              </a:ext>
            </a:extLst>
          </p:cNvPr>
          <p:cNvSpPr/>
          <p:nvPr/>
        </p:nvSpPr>
        <p:spPr>
          <a:xfrm>
            <a:off x="10762338" y="2779318"/>
            <a:ext cx="161326" cy="165606"/>
          </a:xfrm>
          <a:prstGeom prst="rect">
            <a:avLst/>
          </a:prstGeom>
          <a:solidFill>
            <a:srgbClr val="F0EDED">
              <a:alpha val="6466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27" name="Rectangle">
            <a:extLst>
              <a:ext uri="{FF2B5EF4-FFF2-40B4-BE49-F238E27FC236}">
                <a16:creationId xmlns:a16="http://schemas.microsoft.com/office/drawing/2014/main" id="{9EF12CB9-3C53-3714-BE34-55A17746CBEB}"/>
              </a:ext>
            </a:extLst>
          </p:cNvPr>
          <p:cNvSpPr/>
          <p:nvPr/>
        </p:nvSpPr>
        <p:spPr>
          <a:xfrm>
            <a:off x="10762338" y="2477330"/>
            <a:ext cx="161326" cy="165606"/>
          </a:xfrm>
          <a:prstGeom prst="rect">
            <a:avLst/>
          </a:prstGeom>
          <a:solidFill>
            <a:srgbClr val="F0EDED">
              <a:alpha val="40866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28" name="Rectangle">
            <a:extLst>
              <a:ext uri="{FF2B5EF4-FFF2-40B4-BE49-F238E27FC236}">
                <a16:creationId xmlns:a16="http://schemas.microsoft.com/office/drawing/2014/main" id="{5227FBF7-83F4-1787-947D-E5A0CF4E7516}"/>
              </a:ext>
            </a:extLst>
          </p:cNvPr>
          <p:cNvSpPr/>
          <p:nvPr/>
        </p:nvSpPr>
        <p:spPr>
          <a:xfrm>
            <a:off x="11088980" y="3081305"/>
            <a:ext cx="161326" cy="165606"/>
          </a:xfrm>
          <a:prstGeom prst="rect">
            <a:avLst/>
          </a:prstGeom>
          <a:solidFill>
            <a:srgbClr val="F0EDED">
              <a:alpha val="8175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29" name="Rectangle">
            <a:extLst>
              <a:ext uri="{FF2B5EF4-FFF2-40B4-BE49-F238E27FC236}">
                <a16:creationId xmlns:a16="http://schemas.microsoft.com/office/drawing/2014/main" id="{1C421931-1A73-6980-2387-D423C38DABFB}"/>
              </a:ext>
            </a:extLst>
          </p:cNvPr>
          <p:cNvSpPr/>
          <p:nvPr/>
        </p:nvSpPr>
        <p:spPr>
          <a:xfrm>
            <a:off x="11088980" y="2779318"/>
            <a:ext cx="161326" cy="165606"/>
          </a:xfrm>
          <a:prstGeom prst="rect">
            <a:avLst/>
          </a:prstGeom>
          <a:solidFill>
            <a:srgbClr val="F0EDED">
              <a:alpha val="6466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30" name="Rectangle">
            <a:extLst>
              <a:ext uri="{FF2B5EF4-FFF2-40B4-BE49-F238E27FC236}">
                <a16:creationId xmlns:a16="http://schemas.microsoft.com/office/drawing/2014/main" id="{8540DF89-5620-0B32-EAAC-885ADE61ACB8}"/>
              </a:ext>
            </a:extLst>
          </p:cNvPr>
          <p:cNvSpPr/>
          <p:nvPr/>
        </p:nvSpPr>
        <p:spPr>
          <a:xfrm>
            <a:off x="11088980" y="2477330"/>
            <a:ext cx="161326" cy="165606"/>
          </a:xfrm>
          <a:prstGeom prst="rect">
            <a:avLst/>
          </a:prstGeom>
          <a:solidFill>
            <a:srgbClr val="F0EDED">
              <a:alpha val="40866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31" name="Rectangle">
            <a:extLst>
              <a:ext uri="{FF2B5EF4-FFF2-40B4-BE49-F238E27FC236}">
                <a16:creationId xmlns:a16="http://schemas.microsoft.com/office/drawing/2014/main" id="{D97DA6EC-E7EB-1D8B-BA9D-9914467A730D}"/>
              </a:ext>
            </a:extLst>
          </p:cNvPr>
          <p:cNvSpPr/>
          <p:nvPr/>
        </p:nvSpPr>
        <p:spPr>
          <a:xfrm>
            <a:off x="11088980" y="2175342"/>
            <a:ext cx="161326" cy="165606"/>
          </a:xfrm>
          <a:prstGeom prst="rect">
            <a:avLst/>
          </a:prstGeom>
          <a:solidFill>
            <a:srgbClr val="F0EDED">
              <a:alpha val="19672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32" name="Rectangle">
            <a:extLst>
              <a:ext uri="{FF2B5EF4-FFF2-40B4-BE49-F238E27FC236}">
                <a16:creationId xmlns:a16="http://schemas.microsoft.com/office/drawing/2014/main" id="{85A586D8-A980-0B3B-90FF-82CD797FBFF4}"/>
              </a:ext>
            </a:extLst>
          </p:cNvPr>
          <p:cNvSpPr/>
          <p:nvPr/>
        </p:nvSpPr>
        <p:spPr>
          <a:xfrm>
            <a:off x="11415621" y="3081305"/>
            <a:ext cx="161326" cy="165606"/>
          </a:xfrm>
          <a:prstGeom prst="rect">
            <a:avLst/>
          </a:prstGeom>
          <a:solidFill>
            <a:srgbClr val="F0EDED">
              <a:alpha val="8175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33" name="Rectangle">
            <a:extLst>
              <a:ext uri="{FF2B5EF4-FFF2-40B4-BE49-F238E27FC236}">
                <a16:creationId xmlns:a16="http://schemas.microsoft.com/office/drawing/2014/main" id="{E20226E1-01C4-B9AD-F933-2F71795DFA62}"/>
              </a:ext>
            </a:extLst>
          </p:cNvPr>
          <p:cNvSpPr/>
          <p:nvPr/>
        </p:nvSpPr>
        <p:spPr>
          <a:xfrm>
            <a:off x="11415621" y="2779318"/>
            <a:ext cx="161326" cy="165606"/>
          </a:xfrm>
          <a:prstGeom prst="rect">
            <a:avLst/>
          </a:prstGeom>
          <a:solidFill>
            <a:srgbClr val="F0EDED">
              <a:alpha val="6466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34" name="Rectangle">
            <a:extLst>
              <a:ext uri="{FF2B5EF4-FFF2-40B4-BE49-F238E27FC236}">
                <a16:creationId xmlns:a16="http://schemas.microsoft.com/office/drawing/2014/main" id="{E508DE94-E957-E840-1A43-07E080077831}"/>
              </a:ext>
            </a:extLst>
          </p:cNvPr>
          <p:cNvSpPr/>
          <p:nvPr/>
        </p:nvSpPr>
        <p:spPr>
          <a:xfrm>
            <a:off x="11415621" y="2477330"/>
            <a:ext cx="161326" cy="165606"/>
          </a:xfrm>
          <a:prstGeom prst="rect">
            <a:avLst/>
          </a:prstGeom>
          <a:solidFill>
            <a:srgbClr val="F0EDED">
              <a:alpha val="40866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35" name="Rectangle">
            <a:extLst>
              <a:ext uri="{FF2B5EF4-FFF2-40B4-BE49-F238E27FC236}">
                <a16:creationId xmlns:a16="http://schemas.microsoft.com/office/drawing/2014/main" id="{E262BB0E-96F2-7DCE-D25F-A77D2CFC07EF}"/>
              </a:ext>
            </a:extLst>
          </p:cNvPr>
          <p:cNvSpPr/>
          <p:nvPr/>
        </p:nvSpPr>
        <p:spPr>
          <a:xfrm>
            <a:off x="11415621" y="2175342"/>
            <a:ext cx="161326" cy="165606"/>
          </a:xfrm>
          <a:prstGeom prst="rect">
            <a:avLst/>
          </a:prstGeom>
          <a:solidFill>
            <a:srgbClr val="F0EDED">
              <a:alpha val="19672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36" name="Rounded Rectangle">
            <a:extLst>
              <a:ext uri="{FF2B5EF4-FFF2-40B4-BE49-F238E27FC236}">
                <a16:creationId xmlns:a16="http://schemas.microsoft.com/office/drawing/2014/main" id="{AD89DBE5-0506-02F1-0723-2E4D159D30BA}"/>
              </a:ext>
            </a:extLst>
          </p:cNvPr>
          <p:cNvSpPr/>
          <p:nvPr/>
        </p:nvSpPr>
        <p:spPr>
          <a:xfrm>
            <a:off x="3374940" y="1508239"/>
            <a:ext cx="2628820" cy="3636000"/>
          </a:xfrm>
          <a:prstGeom prst="roundRect">
            <a:avLst>
              <a:gd name="adj" fmla="val 4146"/>
            </a:avLst>
          </a:prstGeom>
          <a:solidFill>
            <a:srgbClr val="FFFFFF"/>
          </a:solidFill>
          <a:ln w="12700">
            <a:miter lim="400000"/>
          </a:ln>
          <a:effectLst>
            <a:outerShdw blurRad="1270000" dist="556810" dir="2700000" rotWithShape="0">
              <a:srgbClr val="000000">
                <a:alpha val="14648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37" name="Rounded Rectangle">
            <a:extLst>
              <a:ext uri="{FF2B5EF4-FFF2-40B4-BE49-F238E27FC236}">
                <a16:creationId xmlns:a16="http://schemas.microsoft.com/office/drawing/2014/main" id="{D1EFCEEB-A688-BAD6-57DE-9C2619656421}"/>
              </a:ext>
            </a:extLst>
          </p:cNvPr>
          <p:cNvSpPr/>
          <p:nvPr/>
        </p:nvSpPr>
        <p:spPr>
          <a:xfrm>
            <a:off x="3374940" y="1501802"/>
            <a:ext cx="2628820" cy="1915934"/>
          </a:xfrm>
          <a:prstGeom prst="roundRect">
            <a:avLst>
              <a:gd name="adj" fmla="val 4711"/>
            </a:avLst>
          </a:prstGeom>
          <a:solidFill>
            <a:srgbClr val="7500C0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ctr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38" name="Interactive">
            <a:extLst>
              <a:ext uri="{FF2B5EF4-FFF2-40B4-BE49-F238E27FC236}">
                <a16:creationId xmlns:a16="http://schemas.microsoft.com/office/drawing/2014/main" id="{B3A96787-BCC5-A2E9-ED58-4E43F68A539F}"/>
              </a:ext>
            </a:extLst>
          </p:cNvPr>
          <p:cNvSpPr txBox="1"/>
          <p:nvPr/>
        </p:nvSpPr>
        <p:spPr>
          <a:xfrm>
            <a:off x="3555341" y="1535639"/>
            <a:ext cx="2268017" cy="379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>
            <a:spAutoFit/>
          </a:bodyPr>
          <a:lstStyle>
            <a:lvl1pPr algn="l">
              <a:defRPr sz="3200" spc="-64">
                <a:solidFill>
                  <a:srgbClr val="F0EDED"/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-64" normalizeH="0" baseline="0" noProof="0">
                <a:ln>
                  <a:noFill/>
                </a:ln>
                <a:solidFill>
                  <a:srgbClr val="F0EDED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ong </a:t>
            </a:r>
            <a:endParaRPr kumimoji="0" lang="pt-BR" sz="1800" b="0" i="1" u="none" strike="noStrike" kern="1200" cap="none" spc="-64" normalizeH="0" baseline="0" noProof="0">
              <a:ln>
                <a:noFill/>
              </a:ln>
              <a:solidFill>
                <a:srgbClr val="F0EDED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9" name="Circle">
            <a:extLst>
              <a:ext uri="{FF2B5EF4-FFF2-40B4-BE49-F238E27FC236}">
                <a16:creationId xmlns:a16="http://schemas.microsoft.com/office/drawing/2014/main" id="{7422F675-1A0F-1B03-44A6-4F1831608856}"/>
              </a:ext>
            </a:extLst>
          </p:cNvPr>
          <p:cNvSpPr/>
          <p:nvPr/>
        </p:nvSpPr>
        <p:spPr>
          <a:xfrm>
            <a:off x="4895029" y="3061689"/>
            <a:ext cx="219757" cy="203952"/>
          </a:xfrm>
          <a:prstGeom prst="ellipse">
            <a:avLst/>
          </a:prstGeom>
          <a:solidFill>
            <a:srgbClr val="F0EDED">
              <a:alpha val="30413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40" name="Circle">
            <a:extLst>
              <a:ext uri="{FF2B5EF4-FFF2-40B4-BE49-F238E27FC236}">
                <a16:creationId xmlns:a16="http://schemas.microsoft.com/office/drawing/2014/main" id="{7AE40939-2639-FC44-5B36-55F90FE09607}"/>
              </a:ext>
            </a:extLst>
          </p:cNvPr>
          <p:cNvSpPr/>
          <p:nvPr/>
        </p:nvSpPr>
        <p:spPr>
          <a:xfrm>
            <a:off x="4579472" y="3061689"/>
            <a:ext cx="219757" cy="203952"/>
          </a:xfrm>
          <a:prstGeom prst="ellipse">
            <a:avLst/>
          </a:prstGeom>
          <a:solidFill>
            <a:srgbClr val="460073">
              <a:alpha val="21551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41" name="Circle">
            <a:extLst>
              <a:ext uri="{FF2B5EF4-FFF2-40B4-BE49-F238E27FC236}">
                <a16:creationId xmlns:a16="http://schemas.microsoft.com/office/drawing/2014/main" id="{FEDF1B9D-1BD4-9E27-8915-76402960E19C}"/>
              </a:ext>
            </a:extLst>
          </p:cNvPr>
          <p:cNvSpPr/>
          <p:nvPr/>
        </p:nvSpPr>
        <p:spPr>
          <a:xfrm>
            <a:off x="4263914" y="3061689"/>
            <a:ext cx="219757" cy="203952"/>
          </a:xfrm>
          <a:prstGeom prst="ellipse">
            <a:avLst/>
          </a:prstGeom>
          <a:solidFill>
            <a:srgbClr val="F0EDED">
              <a:alpha val="30413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42" name="Circle">
            <a:extLst>
              <a:ext uri="{FF2B5EF4-FFF2-40B4-BE49-F238E27FC236}">
                <a16:creationId xmlns:a16="http://schemas.microsoft.com/office/drawing/2014/main" id="{A028B824-C4AD-5683-A5D5-C9AA303E6E26}"/>
              </a:ext>
            </a:extLst>
          </p:cNvPr>
          <p:cNvSpPr/>
          <p:nvPr/>
        </p:nvSpPr>
        <p:spPr>
          <a:xfrm>
            <a:off x="3948356" y="3061689"/>
            <a:ext cx="219757" cy="203952"/>
          </a:xfrm>
          <a:prstGeom prst="ellipse">
            <a:avLst/>
          </a:prstGeom>
          <a:solidFill>
            <a:srgbClr val="F0EDED">
              <a:alpha val="30413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43" name="Circle">
            <a:extLst>
              <a:ext uri="{FF2B5EF4-FFF2-40B4-BE49-F238E27FC236}">
                <a16:creationId xmlns:a16="http://schemas.microsoft.com/office/drawing/2014/main" id="{ED8E9A4B-E179-378F-B5A7-C8244B0A6A98}"/>
              </a:ext>
            </a:extLst>
          </p:cNvPr>
          <p:cNvSpPr/>
          <p:nvPr/>
        </p:nvSpPr>
        <p:spPr>
          <a:xfrm>
            <a:off x="3632798" y="3061689"/>
            <a:ext cx="219757" cy="203952"/>
          </a:xfrm>
          <a:prstGeom prst="ellipse">
            <a:avLst/>
          </a:prstGeom>
          <a:solidFill>
            <a:srgbClr val="460073">
              <a:alpha val="21551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44" name="Circle">
            <a:extLst>
              <a:ext uri="{FF2B5EF4-FFF2-40B4-BE49-F238E27FC236}">
                <a16:creationId xmlns:a16="http://schemas.microsoft.com/office/drawing/2014/main" id="{521194CF-5B4B-2D07-F27D-6C0AFA9806D8}"/>
              </a:ext>
            </a:extLst>
          </p:cNvPr>
          <p:cNvSpPr/>
          <p:nvPr/>
        </p:nvSpPr>
        <p:spPr>
          <a:xfrm>
            <a:off x="4894794" y="2759702"/>
            <a:ext cx="219757" cy="203952"/>
          </a:xfrm>
          <a:prstGeom prst="ellipse">
            <a:avLst/>
          </a:prstGeom>
          <a:solidFill>
            <a:srgbClr val="460073">
              <a:alpha val="21551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45" name="Circle">
            <a:extLst>
              <a:ext uri="{FF2B5EF4-FFF2-40B4-BE49-F238E27FC236}">
                <a16:creationId xmlns:a16="http://schemas.microsoft.com/office/drawing/2014/main" id="{1AE4C450-04BB-8513-D9B2-F5C442518647}"/>
              </a:ext>
            </a:extLst>
          </p:cNvPr>
          <p:cNvSpPr/>
          <p:nvPr/>
        </p:nvSpPr>
        <p:spPr>
          <a:xfrm>
            <a:off x="4579237" y="2759702"/>
            <a:ext cx="219757" cy="203952"/>
          </a:xfrm>
          <a:prstGeom prst="ellipse">
            <a:avLst/>
          </a:prstGeom>
          <a:solidFill>
            <a:srgbClr val="F0EDED">
              <a:alpha val="8175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46" name="Circle">
            <a:extLst>
              <a:ext uri="{FF2B5EF4-FFF2-40B4-BE49-F238E27FC236}">
                <a16:creationId xmlns:a16="http://schemas.microsoft.com/office/drawing/2014/main" id="{ED4B09E1-F56A-740C-D25A-E418FAD9E1D8}"/>
              </a:ext>
            </a:extLst>
          </p:cNvPr>
          <p:cNvSpPr/>
          <p:nvPr/>
        </p:nvSpPr>
        <p:spPr>
          <a:xfrm>
            <a:off x="4263679" y="2759702"/>
            <a:ext cx="219757" cy="203952"/>
          </a:xfrm>
          <a:prstGeom prst="ellipse">
            <a:avLst/>
          </a:prstGeom>
          <a:solidFill>
            <a:srgbClr val="F0EDED">
              <a:alpha val="8175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47" name="Circle">
            <a:extLst>
              <a:ext uri="{FF2B5EF4-FFF2-40B4-BE49-F238E27FC236}">
                <a16:creationId xmlns:a16="http://schemas.microsoft.com/office/drawing/2014/main" id="{05F171F3-C890-60F7-6B45-D20F44C8D1FC}"/>
              </a:ext>
            </a:extLst>
          </p:cNvPr>
          <p:cNvSpPr/>
          <p:nvPr/>
        </p:nvSpPr>
        <p:spPr>
          <a:xfrm>
            <a:off x="3948121" y="2759702"/>
            <a:ext cx="219757" cy="203952"/>
          </a:xfrm>
          <a:prstGeom prst="ellipse">
            <a:avLst/>
          </a:prstGeom>
          <a:solidFill>
            <a:srgbClr val="F0EDED">
              <a:alpha val="30413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48" name="Circle">
            <a:extLst>
              <a:ext uri="{FF2B5EF4-FFF2-40B4-BE49-F238E27FC236}">
                <a16:creationId xmlns:a16="http://schemas.microsoft.com/office/drawing/2014/main" id="{2E81658C-A043-0F3A-447B-B635D9CCFDF2}"/>
              </a:ext>
            </a:extLst>
          </p:cNvPr>
          <p:cNvSpPr/>
          <p:nvPr/>
        </p:nvSpPr>
        <p:spPr>
          <a:xfrm>
            <a:off x="3632563" y="2759702"/>
            <a:ext cx="219757" cy="203952"/>
          </a:xfrm>
          <a:prstGeom prst="ellipse">
            <a:avLst/>
          </a:prstGeom>
          <a:solidFill>
            <a:srgbClr val="F0EDED">
              <a:alpha val="30413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49" name="Circle">
            <a:extLst>
              <a:ext uri="{FF2B5EF4-FFF2-40B4-BE49-F238E27FC236}">
                <a16:creationId xmlns:a16="http://schemas.microsoft.com/office/drawing/2014/main" id="{553E47D6-4F9B-9D49-BB0F-37CC24E990DB}"/>
              </a:ext>
            </a:extLst>
          </p:cNvPr>
          <p:cNvSpPr/>
          <p:nvPr/>
        </p:nvSpPr>
        <p:spPr>
          <a:xfrm>
            <a:off x="4895029" y="2457714"/>
            <a:ext cx="219757" cy="203952"/>
          </a:xfrm>
          <a:prstGeom prst="ellipse">
            <a:avLst/>
          </a:prstGeom>
          <a:solidFill>
            <a:srgbClr val="F0EDED">
              <a:alpha val="30413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50" name="Circle">
            <a:extLst>
              <a:ext uri="{FF2B5EF4-FFF2-40B4-BE49-F238E27FC236}">
                <a16:creationId xmlns:a16="http://schemas.microsoft.com/office/drawing/2014/main" id="{E980435C-5C75-2015-2333-AA9189FCF2C3}"/>
              </a:ext>
            </a:extLst>
          </p:cNvPr>
          <p:cNvSpPr/>
          <p:nvPr/>
        </p:nvSpPr>
        <p:spPr>
          <a:xfrm>
            <a:off x="4579472" y="2457714"/>
            <a:ext cx="219757" cy="203952"/>
          </a:xfrm>
          <a:prstGeom prst="ellipse">
            <a:avLst/>
          </a:prstGeom>
          <a:solidFill>
            <a:srgbClr val="F0EDED">
              <a:alpha val="30413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51" name="Circle">
            <a:extLst>
              <a:ext uri="{FF2B5EF4-FFF2-40B4-BE49-F238E27FC236}">
                <a16:creationId xmlns:a16="http://schemas.microsoft.com/office/drawing/2014/main" id="{6380BDC4-C2BA-FFC3-5994-E789E87DE9B5}"/>
              </a:ext>
            </a:extLst>
          </p:cNvPr>
          <p:cNvSpPr/>
          <p:nvPr/>
        </p:nvSpPr>
        <p:spPr>
          <a:xfrm>
            <a:off x="4263914" y="2457714"/>
            <a:ext cx="219757" cy="203952"/>
          </a:xfrm>
          <a:prstGeom prst="ellipse">
            <a:avLst/>
          </a:prstGeom>
          <a:solidFill>
            <a:srgbClr val="460073">
              <a:alpha val="21551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52" name="Circle">
            <a:extLst>
              <a:ext uri="{FF2B5EF4-FFF2-40B4-BE49-F238E27FC236}">
                <a16:creationId xmlns:a16="http://schemas.microsoft.com/office/drawing/2014/main" id="{ED66033D-9C50-16DC-1C8E-ABAA83E3B67B}"/>
              </a:ext>
            </a:extLst>
          </p:cNvPr>
          <p:cNvSpPr/>
          <p:nvPr/>
        </p:nvSpPr>
        <p:spPr>
          <a:xfrm>
            <a:off x="3948356" y="2457714"/>
            <a:ext cx="219757" cy="203952"/>
          </a:xfrm>
          <a:prstGeom prst="ellipse">
            <a:avLst/>
          </a:prstGeom>
          <a:solidFill>
            <a:srgbClr val="F0EDED">
              <a:alpha val="8175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53" name="Circle">
            <a:extLst>
              <a:ext uri="{FF2B5EF4-FFF2-40B4-BE49-F238E27FC236}">
                <a16:creationId xmlns:a16="http://schemas.microsoft.com/office/drawing/2014/main" id="{943BE557-F59D-F318-8545-7734BD135767}"/>
              </a:ext>
            </a:extLst>
          </p:cNvPr>
          <p:cNvSpPr/>
          <p:nvPr/>
        </p:nvSpPr>
        <p:spPr>
          <a:xfrm>
            <a:off x="3632798" y="2457714"/>
            <a:ext cx="219757" cy="203952"/>
          </a:xfrm>
          <a:prstGeom prst="ellipse">
            <a:avLst/>
          </a:prstGeom>
          <a:solidFill>
            <a:srgbClr val="460073">
              <a:alpha val="21551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54" name="Circle">
            <a:extLst>
              <a:ext uri="{FF2B5EF4-FFF2-40B4-BE49-F238E27FC236}">
                <a16:creationId xmlns:a16="http://schemas.microsoft.com/office/drawing/2014/main" id="{9923D994-190F-2B82-A991-9EFD3E998F7B}"/>
              </a:ext>
            </a:extLst>
          </p:cNvPr>
          <p:cNvSpPr/>
          <p:nvPr/>
        </p:nvSpPr>
        <p:spPr>
          <a:xfrm>
            <a:off x="5526144" y="3061689"/>
            <a:ext cx="219757" cy="203952"/>
          </a:xfrm>
          <a:prstGeom prst="ellipse">
            <a:avLst/>
          </a:prstGeom>
          <a:solidFill>
            <a:srgbClr val="F0EDED">
              <a:alpha val="30413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55" name="Circle">
            <a:extLst>
              <a:ext uri="{FF2B5EF4-FFF2-40B4-BE49-F238E27FC236}">
                <a16:creationId xmlns:a16="http://schemas.microsoft.com/office/drawing/2014/main" id="{D65F20AD-0D81-60BE-AA1A-D4BF8317AAFA}"/>
              </a:ext>
            </a:extLst>
          </p:cNvPr>
          <p:cNvSpPr/>
          <p:nvPr/>
        </p:nvSpPr>
        <p:spPr>
          <a:xfrm>
            <a:off x="5210587" y="3061689"/>
            <a:ext cx="219757" cy="203952"/>
          </a:xfrm>
          <a:prstGeom prst="ellipse">
            <a:avLst/>
          </a:prstGeom>
          <a:solidFill>
            <a:srgbClr val="F0EDED">
              <a:alpha val="30413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56" name="Circle">
            <a:extLst>
              <a:ext uri="{FF2B5EF4-FFF2-40B4-BE49-F238E27FC236}">
                <a16:creationId xmlns:a16="http://schemas.microsoft.com/office/drawing/2014/main" id="{9145C60E-3A98-678C-F054-934D74523F77}"/>
              </a:ext>
            </a:extLst>
          </p:cNvPr>
          <p:cNvSpPr/>
          <p:nvPr/>
        </p:nvSpPr>
        <p:spPr>
          <a:xfrm>
            <a:off x="5525908" y="2759703"/>
            <a:ext cx="219757" cy="203952"/>
          </a:xfrm>
          <a:prstGeom prst="ellipse">
            <a:avLst/>
          </a:prstGeom>
          <a:solidFill>
            <a:srgbClr val="F0EDED">
              <a:alpha val="8175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57" name="Circle">
            <a:extLst>
              <a:ext uri="{FF2B5EF4-FFF2-40B4-BE49-F238E27FC236}">
                <a16:creationId xmlns:a16="http://schemas.microsoft.com/office/drawing/2014/main" id="{CC42C3F6-5A32-BA02-0AD8-DBC5C3BE7D28}"/>
              </a:ext>
            </a:extLst>
          </p:cNvPr>
          <p:cNvSpPr/>
          <p:nvPr/>
        </p:nvSpPr>
        <p:spPr>
          <a:xfrm>
            <a:off x="5210352" y="2759703"/>
            <a:ext cx="219757" cy="203952"/>
          </a:xfrm>
          <a:prstGeom prst="ellipse">
            <a:avLst/>
          </a:prstGeom>
          <a:solidFill>
            <a:srgbClr val="F0EDED">
              <a:alpha val="30413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58" name="Circle">
            <a:extLst>
              <a:ext uri="{FF2B5EF4-FFF2-40B4-BE49-F238E27FC236}">
                <a16:creationId xmlns:a16="http://schemas.microsoft.com/office/drawing/2014/main" id="{C75A09E7-419E-664B-D1B8-97D76FC2CCAC}"/>
              </a:ext>
            </a:extLst>
          </p:cNvPr>
          <p:cNvSpPr/>
          <p:nvPr/>
        </p:nvSpPr>
        <p:spPr>
          <a:xfrm>
            <a:off x="5526144" y="2457714"/>
            <a:ext cx="219757" cy="203952"/>
          </a:xfrm>
          <a:prstGeom prst="ellipse">
            <a:avLst/>
          </a:prstGeom>
          <a:solidFill>
            <a:srgbClr val="460073">
              <a:alpha val="21551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59" name="Circle">
            <a:extLst>
              <a:ext uri="{FF2B5EF4-FFF2-40B4-BE49-F238E27FC236}">
                <a16:creationId xmlns:a16="http://schemas.microsoft.com/office/drawing/2014/main" id="{73C08186-D78A-5DDC-5E72-12743C308AA5}"/>
              </a:ext>
            </a:extLst>
          </p:cNvPr>
          <p:cNvSpPr/>
          <p:nvPr/>
        </p:nvSpPr>
        <p:spPr>
          <a:xfrm>
            <a:off x="5210587" y="2457714"/>
            <a:ext cx="219757" cy="203952"/>
          </a:xfrm>
          <a:prstGeom prst="ellipse">
            <a:avLst/>
          </a:prstGeom>
          <a:solidFill>
            <a:srgbClr val="F0EDED">
              <a:alpha val="30413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60" name="Circle">
            <a:extLst>
              <a:ext uri="{FF2B5EF4-FFF2-40B4-BE49-F238E27FC236}">
                <a16:creationId xmlns:a16="http://schemas.microsoft.com/office/drawing/2014/main" id="{F91C4657-79CF-F652-7F92-352738EC8A54}"/>
              </a:ext>
            </a:extLst>
          </p:cNvPr>
          <p:cNvSpPr/>
          <p:nvPr/>
        </p:nvSpPr>
        <p:spPr>
          <a:xfrm>
            <a:off x="4579472" y="2155726"/>
            <a:ext cx="219757" cy="203952"/>
          </a:xfrm>
          <a:prstGeom prst="ellipse">
            <a:avLst/>
          </a:prstGeom>
          <a:solidFill>
            <a:srgbClr val="F0EDED">
              <a:alpha val="8175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61" name="Circle">
            <a:extLst>
              <a:ext uri="{FF2B5EF4-FFF2-40B4-BE49-F238E27FC236}">
                <a16:creationId xmlns:a16="http://schemas.microsoft.com/office/drawing/2014/main" id="{0457E881-C640-5329-3906-46107FC53E44}"/>
              </a:ext>
            </a:extLst>
          </p:cNvPr>
          <p:cNvSpPr/>
          <p:nvPr/>
        </p:nvSpPr>
        <p:spPr>
          <a:xfrm>
            <a:off x="4263914" y="2155726"/>
            <a:ext cx="219757" cy="203952"/>
          </a:xfrm>
          <a:prstGeom prst="ellipse">
            <a:avLst/>
          </a:prstGeom>
          <a:solidFill>
            <a:srgbClr val="F0EDED">
              <a:alpha val="30413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62" name="Circle">
            <a:extLst>
              <a:ext uri="{FF2B5EF4-FFF2-40B4-BE49-F238E27FC236}">
                <a16:creationId xmlns:a16="http://schemas.microsoft.com/office/drawing/2014/main" id="{88DD5DAD-076E-ABEF-6B3F-5FD0732747A4}"/>
              </a:ext>
            </a:extLst>
          </p:cNvPr>
          <p:cNvSpPr/>
          <p:nvPr/>
        </p:nvSpPr>
        <p:spPr>
          <a:xfrm>
            <a:off x="3948356" y="2155726"/>
            <a:ext cx="219757" cy="203952"/>
          </a:xfrm>
          <a:prstGeom prst="ellipse">
            <a:avLst/>
          </a:prstGeom>
          <a:solidFill>
            <a:srgbClr val="F0EDED">
              <a:alpha val="30413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63" name="Circle">
            <a:extLst>
              <a:ext uri="{FF2B5EF4-FFF2-40B4-BE49-F238E27FC236}">
                <a16:creationId xmlns:a16="http://schemas.microsoft.com/office/drawing/2014/main" id="{AE3C8998-54DD-3722-6046-C3D33DD68A14}"/>
              </a:ext>
            </a:extLst>
          </p:cNvPr>
          <p:cNvSpPr/>
          <p:nvPr/>
        </p:nvSpPr>
        <p:spPr>
          <a:xfrm>
            <a:off x="3632798" y="2155726"/>
            <a:ext cx="219757" cy="203952"/>
          </a:xfrm>
          <a:prstGeom prst="ellipse">
            <a:avLst/>
          </a:prstGeom>
          <a:solidFill>
            <a:srgbClr val="F0EDED">
              <a:alpha val="30413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64" name="Circle">
            <a:extLst>
              <a:ext uri="{FF2B5EF4-FFF2-40B4-BE49-F238E27FC236}">
                <a16:creationId xmlns:a16="http://schemas.microsoft.com/office/drawing/2014/main" id="{27D96870-906B-EF82-3665-A24E052C34E4}"/>
              </a:ext>
            </a:extLst>
          </p:cNvPr>
          <p:cNvSpPr/>
          <p:nvPr/>
        </p:nvSpPr>
        <p:spPr>
          <a:xfrm>
            <a:off x="5526144" y="2155726"/>
            <a:ext cx="219757" cy="203952"/>
          </a:xfrm>
          <a:prstGeom prst="ellipse">
            <a:avLst/>
          </a:prstGeom>
          <a:solidFill>
            <a:srgbClr val="460073">
              <a:alpha val="21551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65" name="Circle">
            <a:extLst>
              <a:ext uri="{FF2B5EF4-FFF2-40B4-BE49-F238E27FC236}">
                <a16:creationId xmlns:a16="http://schemas.microsoft.com/office/drawing/2014/main" id="{F1CCAD5D-C118-0BC9-DA84-60789A89E930}"/>
              </a:ext>
            </a:extLst>
          </p:cNvPr>
          <p:cNvSpPr/>
          <p:nvPr/>
        </p:nvSpPr>
        <p:spPr>
          <a:xfrm>
            <a:off x="5210587" y="2155726"/>
            <a:ext cx="219757" cy="203952"/>
          </a:xfrm>
          <a:prstGeom prst="ellipse">
            <a:avLst/>
          </a:prstGeom>
          <a:solidFill>
            <a:srgbClr val="F0EDED">
              <a:alpha val="8175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66" name="Circle">
            <a:extLst>
              <a:ext uri="{FF2B5EF4-FFF2-40B4-BE49-F238E27FC236}">
                <a16:creationId xmlns:a16="http://schemas.microsoft.com/office/drawing/2014/main" id="{305AA7FD-C256-0D59-1377-A287BF3FB7E7}"/>
              </a:ext>
            </a:extLst>
          </p:cNvPr>
          <p:cNvSpPr/>
          <p:nvPr/>
        </p:nvSpPr>
        <p:spPr>
          <a:xfrm>
            <a:off x="4895029" y="2155726"/>
            <a:ext cx="219757" cy="203952"/>
          </a:xfrm>
          <a:prstGeom prst="ellipse">
            <a:avLst/>
          </a:prstGeom>
          <a:solidFill>
            <a:srgbClr val="F0EDED">
              <a:alpha val="30413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67" name="Circle">
            <a:extLst>
              <a:ext uri="{FF2B5EF4-FFF2-40B4-BE49-F238E27FC236}">
                <a16:creationId xmlns:a16="http://schemas.microsoft.com/office/drawing/2014/main" id="{DA53F54B-FEBE-D8CD-C737-E3B528B6CC1F}"/>
              </a:ext>
            </a:extLst>
          </p:cNvPr>
          <p:cNvSpPr/>
          <p:nvPr/>
        </p:nvSpPr>
        <p:spPr>
          <a:xfrm>
            <a:off x="1241810" y="2133815"/>
            <a:ext cx="1068069" cy="1047024"/>
          </a:xfrm>
          <a:prstGeom prst="ellipse">
            <a:avLst/>
          </a:prstGeom>
          <a:solidFill>
            <a:srgbClr val="F0EDED">
              <a:alpha val="15000"/>
            </a:srgbClr>
          </a:solidFill>
          <a:ln w="12700" cap="flat">
            <a:noFill/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68" name="Circle">
            <a:extLst>
              <a:ext uri="{FF2B5EF4-FFF2-40B4-BE49-F238E27FC236}">
                <a16:creationId xmlns:a16="http://schemas.microsoft.com/office/drawing/2014/main" id="{90712668-DC77-8FA3-7797-56C82DFAAE16}"/>
              </a:ext>
            </a:extLst>
          </p:cNvPr>
          <p:cNvSpPr/>
          <p:nvPr/>
        </p:nvSpPr>
        <p:spPr>
          <a:xfrm>
            <a:off x="1439989" y="2328089"/>
            <a:ext cx="671711" cy="658476"/>
          </a:xfrm>
          <a:prstGeom prst="ellipse">
            <a:avLst/>
          </a:prstGeom>
          <a:solidFill>
            <a:srgbClr val="F0EDED">
              <a:alpha val="15000"/>
            </a:srgbClr>
          </a:solidFill>
          <a:ln w="12700" cap="flat">
            <a:noFill/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69" name="Circle">
            <a:extLst>
              <a:ext uri="{FF2B5EF4-FFF2-40B4-BE49-F238E27FC236}">
                <a16:creationId xmlns:a16="http://schemas.microsoft.com/office/drawing/2014/main" id="{B02F011B-DBFB-5E5A-76F4-EABC3E0E4E87}"/>
              </a:ext>
            </a:extLst>
          </p:cNvPr>
          <p:cNvSpPr/>
          <p:nvPr/>
        </p:nvSpPr>
        <p:spPr>
          <a:xfrm>
            <a:off x="1654284" y="2538161"/>
            <a:ext cx="243121" cy="238331"/>
          </a:xfrm>
          <a:prstGeom prst="ellipse">
            <a:avLst/>
          </a:prstGeom>
          <a:solidFill>
            <a:srgbClr val="F0EDED">
              <a:alpha val="30413"/>
            </a:srgbClr>
          </a:solidFill>
          <a:ln w="12700" cap="flat">
            <a:noFill/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marL="0" marR="0" lvl="0" indent="0" algn="l" defTabSz="825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sym typeface="Helvetica Neue Medium"/>
            </a:endParaRPr>
          </a:p>
        </p:txBody>
      </p:sp>
      <p:sp>
        <p:nvSpPr>
          <p:cNvPr id="70" name="Estratégias e consultoria setorial e de funções de negócio">
            <a:extLst>
              <a:ext uri="{FF2B5EF4-FFF2-40B4-BE49-F238E27FC236}">
                <a16:creationId xmlns:a16="http://schemas.microsoft.com/office/drawing/2014/main" id="{46D8924C-64B1-6B34-7052-89D4DB4FEAB9}"/>
              </a:ext>
            </a:extLst>
          </p:cNvPr>
          <p:cNvSpPr txBox="1"/>
          <p:nvPr/>
        </p:nvSpPr>
        <p:spPr>
          <a:xfrm>
            <a:off x="3463468" y="3434049"/>
            <a:ext cx="2427696" cy="16326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>
            <a:spAutoFit/>
          </a:bodyPr>
          <a:lstStyle>
            <a:lvl1pPr>
              <a:lnSpc>
                <a:spcPct val="120000"/>
              </a:lnSpc>
              <a:defRPr sz="2600" spc="-52"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Estratégias de Criação, Mídia e Marketing </a:t>
            </a:r>
          </a:p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Coordenação de Campanhas, Conteúdo &amp; Canais</a:t>
            </a:r>
          </a:p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Experiências Inovadoras </a:t>
            </a:r>
          </a:p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Design de Crescimento, Produto &amp; Cultura</a:t>
            </a:r>
          </a:p>
        </p:txBody>
      </p:sp>
      <p:sp>
        <p:nvSpPr>
          <p:cNvPr id="71" name="Estratégias e consultoria setorial e de funções de negócio">
            <a:extLst>
              <a:ext uri="{FF2B5EF4-FFF2-40B4-BE49-F238E27FC236}">
                <a16:creationId xmlns:a16="http://schemas.microsoft.com/office/drawing/2014/main" id="{2C3EA784-BFAF-1AE2-B5FC-563B08093A4A}"/>
              </a:ext>
            </a:extLst>
          </p:cNvPr>
          <p:cNvSpPr txBox="1"/>
          <p:nvPr/>
        </p:nvSpPr>
        <p:spPr>
          <a:xfrm>
            <a:off x="9302510" y="3434049"/>
            <a:ext cx="2427696" cy="14110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>
            <a:spAutoFit/>
          </a:bodyPr>
          <a:lstStyle>
            <a:lvl1pPr>
              <a:lnSpc>
                <a:spcPct val="120000"/>
              </a:lnSpc>
              <a:defRPr sz="2600" spc="-52"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Inteligência Artificial</a:t>
            </a:r>
          </a:p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Engenharia de Software</a:t>
            </a:r>
          </a:p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>
                <a:solidFill>
                  <a:srgbClr val="000000"/>
                </a:solidFill>
              </a:rPr>
              <a:t>Automação</a:t>
            </a:r>
            <a:endParaRPr kumimoji="0" lang="pt-BR" sz="1200" b="0" i="0" u="none" strike="noStrike" kern="1200" cap="none" spc="-52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sym typeface="Graphik"/>
            </a:endParaRPr>
          </a:p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Cloud &amp; Infraestrutura</a:t>
            </a:r>
          </a:p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Segurança</a:t>
            </a:r>
          </a:p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>
                <a:solidFill>
                  <a:srgbClr val="000000"/>
                </a:solidFill>
              </a:rPr>
              <a:t>Plataformas</a:t>
            </a:r>
            <a:endParaRPr kumimoji="0" lang="pt-BR" sz="1200" b="0" i="0" u="none" strike="noStrike" kern="1200" cap="none" spc="-52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sym typeface="Graphik"/>
            </a:endParaRPr>
          </a:p>
        </p:txBody>
      </p:sp>
      <p:sp>
        <p:nvSpPr>
          <p:cNvPr id="72" name="Estratégias e consultoria setorial e de funções de negócio">
            <a:extLst>
              <a:ext uri="{FF2B5EF4-FFF2-40B4-BE49-F238E27FC236}">
                <a16:creationId xmlns:a16="http://schemas.microsoft.com/office/drawing/2014/main" id="{3D3916C7-7246-D751-EDEF-A7F6CE9A4504}"/>
              </a:ext>
            </a:extLst>
          </p:cNvPr>
          <p:cNvSpPr txBox="1"/>
          <p:nvPr/>
        </p:nvSpPr>
        <p:spPr>
          <a:xfrm>
            <a:off x="6389006" y="3434049"/>
            <a:ext cx="2427696" cy="16326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>
            <a:spAutoFit/>
          </a:bodyPr>
          <a:lstStyle>
            <a:lvl1pPr>
              <a:lnSpc>
                <a:spcPct val="120000"/>
              </a:lnSpc>
              <a:defRPr sz="2600" spc="-52"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Business </a:t>
            </a:r>
            <a:r>
              <a:rPr kumimoji="0" lang="pt-BR" sz="1200" b="0" i="0" u="none" strike="noStrike" kern="1200" cap="none" spc="-52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Functions</a:t>
            </a: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 as a </a:t>
            </a:r>
            <a:r>
              <a:rPr kumimoji="0" lang="pt-BR" sz="1200" b="0" i="0" u="none" strike="noStrike" kern="1200" cap="none" spc="-52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servic</a:t>
            </a:r>
            <a:r>
              <a:rPr lang="pt-BR" sz="1200">
                <a:solidFill>
                  <a:srgbClr val="000000"/>
                </a:solidFill>
              </a:rPr>
              <a:t>e: </a:t>
            </a: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Finanças &amp; Contabilidade, </a:t>
            </a:r>
            <a:r>
              <a:rPr kumimoji="0" lang="pt-BR" sz="1200" b="0" i="0" u="none" strike="noStrike" kern="1200" cap="none" spc="-52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Procurement</a:t>
            </a: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, Marketing, HR, etc.</a:t>
            </a:r>
          </a:p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-52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sym typeface="Graphik"/>
              </a:rPr>
              <a:t>Serviços de Processamento de Negócios (BPS) </a:t>
            </a:r>
          </a:p>
          <a:p>
            <a:pPr marL="144000" marR="0" lvl="0" indent="-14400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>
                <a:solidFill>
                  <a:srgbClr val="000000"/>
                </a:solidFill>
              </a:rPr>
              <a:t>Outsourcing</a:t>
            </a:r>
          </a:p>
        </p:txBody>
      </p:sp>
      <p:sp>
        <p:nvSpPr>
          <p:cNvPr id="73" name="Rounded Rectangle 74">
            <a:extLst>
              <a:ext uri="{FF2B5EF4-FFF2-40B4-BE49-F238E27FC236}">
                <a16:creationId xmlns:a16="http://schemas.microsoft.com/office/drawing/2014/main" id="{D0F7835C-1976-DDD9-E158-6EDB18431429}"/>
              </a:ext>
            </a:extLst>
          </p:cNvPr>
          <p:cNvSpPr/>
          <p:nvPr/>
        </p:nvSpPr>
        <p:spPr>
          <a:xfrm>
            <a:off x="0" y="5312669"/>
            <a:ext cx="12191995" cy="460339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accent6">
                  <a:lumMod val="25000"/>
                </a:schemeClr>
              </a:gs>
              <a:gs pos="45000">
                <a:schemeClr val="accent6">
                  <a:lumMod val="75000"/>
                </a:schemeClr>
              </a:gs>
              <a:gs pos="20000">
                <a:schemeClr val="accent1">
                  <a:lumMod val="45000"/>
                  <a:lumOff val="55000"/>
                </a:schemeClr>
              </a:gs>
              <a:gs pos="9000">
                <a:schemeClr val="accent5">
                  <a:lumMod val="40000"/>
                  <a:lumOff val="6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74" name="TextBox 61">
            <a:extLst>
              <a:ext uri="{FF2B5EF4-FFF2-40B4-BE49-F238E27FC236}">
                <a16:creationId xmlns:a16="http://schemas.microsoft.com/office/drawing/2014/main" id="{C2763D3E-7041-A0C8-794B-3A2512A87474}"/>
              </a:ext>
            </a:extLst>
          </p:cNvPr>
          <p:cNvSpPr txBox="1"/>
          <p:nvPr/>
        </p:nvSpPr>
        <p:spPr>
          <a:xfrm>
            <a:off x="659582" y="6047264"/>
            <a:ext cx="928139" cy="35907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  <a:t>Accenture</a:t>
            </a:r>
            <a:br>
              <a:rPr kumimoji="0" lang="pt-BR" sz="140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</a:br>
            <a:r>
              <a:rPr kumimoji="0" lang="pt-BR" sz="1400" i="0" u="none" strike="noStrike" kern="1200" cap="none" spc="0" normalizeH="0" baseline="0" noProof="0" err="1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  <a:t>Research</a:t>
            </a:r>
            <a:endParaRPr kumimoji="0" lang="pt-BR" sz="1400" i="0" u="none" strike="noStrike" kern="0" cap="none" spc="0" normalizeH="0" baseline="0" noProof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Graphik Medium" panose="020B0603030202060203" pitchFamily="34" charset="0"/>
              <a:cs typeface="Arial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A6F108B-A35C-33AC-C85B-932B33403AB9}"/>
              </a:ext>
            </a:extLst>
          </p:cNvPr>
          <p:cNvGrpSpPr/>
          <p:nvPr/>
        </p:nvGrpSpPr>
        <p:grpSpPr>
          <a:xfrm>
            <a:off x="859574" y="5401677"/>
            <a:ext cx="532489" cy="532489"/>
            <a:chOff x="859574" y="5193340"/>
            <a:chExt cx="532489" cy="53248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EBC8D578-B003-84C4-1629-639892230545}"/>
                </a:ext>
              </a:extLst>
            </p:cNvPr>
            <p:cNvSpPr/>
            <p:nvPr/>
          </p:nvSpPr>
          <p:spPr>
            <a:xfrm>
              <a:off x="859574" y="5193340"/>
              <a:ext cx="532489" cy="53248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grpSp>
          <p:nvGrpSpPr>
            <p:cNvPr id="77" name="Graphic 11">
              <a:extLst>
                <a:ext uri="{FF2B5EF4-FFF2-40B4-BE49-F238E27FC236}">
                  <a16:creationId xmlns:a16="http://schemas.microsoft.com/office/drawing/2014/main" id="{B05904D1-35FC-C2A6-3CE8-2E17E45B3FDB}"/>
                </a:ext>
              </a:extLst>
            </p:cNvPr>
            <p:cNvGrpSpPr/>
            <p:nvPr/>
          </p:nvGrpSpPr>
          <p:grpSpPr>
            <a:xfrm>
              <a:off x="1012553" y="5296079"/>
              <a:ext cx="226532" cy="327004"/>
              <a:chOff x="1139296" y="1593420"/>
              <a:chExt cx="441447" cy="637241"/>
            </a:xfrm>
            <a:solidFill>
              <a:schemeClr val="accent1"/>
            </a:solidFill>
          </p:grpSpPr>
          <p:sp>
            <p:nvSpPr>
              <p:cNvPr id="78" name="Freeform 47">
                <a:extLst>
                  <a:ext uri="{FF2B5EF4-FFF2-40B4-BE49-F238E27FC236}">
                    <a16:creationId xmlns:a16="http://schemas.microsoft.com/office/drawing/2014/main" id="{74F7C0F2-22F2-511D-3E43-78639126621E}"/>
                  </a:ext>
                </a:extLst>
              </p:cNvPr>
              <p:cNvSpPr/>
              <p:nvPr/>
            </p:nvSpPr>
            <p:spPr>
              <a:xfrm>
                <a:off x="1139296" y="2139595"/>
                <a:ext cx="441447" cy="91066"/>
              </a:xfrm>
              <a:custGeom>
                <a:avLst/>
                <a:gdLst>
                  <a:gd name="connsiteX0" fmla="*/ 50087 w 441447"/>
                  <a:gd name="connsiteY0" fmla="*/ 0 h 91066"/>
                  <a:gd name="connsiteX1" fmla="*/ 30507 w 441447"/>
                  <a:gd name="connsiteY1" fmla="*/ 0 h 91066"/>
                  <a:gd name="connsiteX2" fmla="*/ 0 w 441447"/>
                  <a:gd name="connsiteY2" fmla="*/ 91067 h 91066"/>
                  <a:gd name="connsiteX3" fmla="*/ 23905 w 441447"/>
                  <a:gd name="connsiteY3" fmla="*/ 91067 h 91066"/>
                  <a:gd name="connsiteX4" fmla="*/ 46900 w 441447"/>
                  <a:gd name="connsiteY4" fmla="*/ 22767 h 91066"/>
                  <a:gd name="connsiteX5" fmla="*/ 394775 w 441447"/>
                  <a:gd name="connsiteY5" fmla="*/ 22767 h 91066"/>
                  <a:gd name="connsiteX6" fmla="*/ 417314 w 441447"/>
                  <a:gd name="connsiteY6" fmla="*/ 91067 h 91066"/>
                  <a:gd name="connsiteX7" fmla="*/ 441447 w 441447"/>
                  <a:gd name="connsiteY7" fmla="*/ 91067 h 91066"/>
                  <a:gd name="connsiteX8" fmla="*/ 411167 w 441447"/>
                  <a:gd name="connsiteY8" fmla="*/ 0 h 91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1447" h="91066">
                    <a:moveTo>
                      <a:pt x="50087" y="0"/>
                    </a:moveTo>
                    <a:lnTo>
                      <a:pt x="30507" y="0"/>
                    </a:lnTo>
                    <a:lnTo>
                      <a:pt x="0" y="91067"/>
                    </a:lnTo>
                    <a:lnTo>
                      <a:pt x="23905" y="91067"/>
                    </a:lnTo>
                    <a:lnTo>
                      <a:pt x="46900" y="22767"/>
                    </a:lnTo>
                    <a:lnTo>
                      <a:pt x="394775" y="22767"/>
                    </a:lnTo>
                    <a:lnTo>
                      <a:pt x="417314" y="91067"/>
                    </a:lnTo>
                    <a:lnTo>
                      <a:pt x="441447" y="91067"/>
                    </a:lnTo>
                    <a:lnTo>
                      <a:pt x="411167" y="0"/>
                    </a:ln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79" name="Freeform 48">
                <a:extLst>
                  <a:ext uri="{FF2B5EF4-FFF2-40B4-BE49-F238E27FC236}">
                    <a16:creationId xmlns:a16="http://schemas.microsoft.com/office/drawing/2014/main" id="{916F1128-A4EE-EC9D-89C4-DB49E6EE643A}"/>
                  </a:ext>
                </a:extLst>
              </p:cNvPr>
              <p:cNvSpPr/>
              <p:nvPr/>
            </p:nvSpPr>
            <p:spPr>
              <a:xfrm>
                <a:off x="1143849" y="1593420"/>
                <a:ext cx="307351" cy="523407"/>
              </a:xfrm>
              <a:custGeom>
                <a:avLst/>
                <a:gdLst>
                  <a:gd name="connsiteX0" fmla="*/ 73081 w 307351"/>
                  <a:gd name="connsiteY0" fmla="*/ 261590 h 523407"/>
                  <a:gd name="connsiteX1" fmla="*/ 107231 w 307351"/>
                  <a:gd name="connsiteY1" fmla="*/ 227440 h 523407"/>
                  <a:gd name="connsiteX2" fmla="*/ 159367 w 307351"/>
                  <a:gd name="connsiteY2" fmla="*/ 227440 h 523407"/>
                  <a:gd name="connsiteX3" fmla="*/ 159367 w 307351"/>
                  <a:gd name="connsiteY3" fmla="*/ 254988 h 523407"/>
                  <a:gd name="connsiteX4" fmla="*/ 68300 w 307351"/>
                  <a:gd name="connsiteY4" fmla="*/ 420957 h 523407"/>
                  <a:gd name="connsiteX5" fmla="*/ 68300 w 307351"/>
                  <a:gd name="connsiteY5" fmla="*/ 523407 h 523407"/>
                  <a:gd name="connsiteX6" fmla="*/ 91067 w 307351"/>
                  <a:gd name="connsiteY6" fmla="*/ 523407 h 523407"/>
                  <a:gd name="connsiteX7" fmla="*/ 91067 w 307351"/>
                  <a:gd name="connsiteY7" fmla="*/ 420957 h 523407"/>
                  <a:gd name="connsiteX8" fmla="*/ 175759 w 307351"/>
                  <a:gd name="connsiteY8" fmla="*/ 271835 h 523407"/>
                  <a:gd name="connsiteX9" fmla="*/ 182134 w 307351"/>
                  <a:gd name="connsiteY9" fmla="*/ 268648 h 523407"/>
                  <a:gd name="connsiteX10" fmla="*/ 182134 w 307351"/>
                  <a:gd name="connsiteY10" fmla="*/ 227440 h 523407"/>
                  <a:gd name="connsiteX11" fmla="*/ 159367 w 307351"/>
                  <a:gd name="connsiteY11" fmla="*/ 204673 h 523407"/>
                  <a:gd name="connsiteX12" fmla="*/ 97669 w 307351"/>
                  <a:gd name="connsiteY12" fmla="*/ 204673 h 523407"/>
                  <a:gd name="connsiteX13" fmla="*/ 55779 w 307351"/>
                  <a:gd name="connsiteY13" fmla="*/ 246564 h 523407"/>
                  <a:gd name="connsiteX14" fmla="*/ 22767 w 307351"/>
                  <a:gd name="connsiteY14" fmla="*/ 221748 h 523407"/>
                  <a:gd name="connsiteX15" fmla="*/ 22767 w 307351"/>
                  <a:gd name="connsiteY15" fmla="*/ 175304 h 523407"/>
                  <a:gd name="connsiteX16" fmla="*/ 129998 w 307351"/>
                  <a:gd name="connsiteY16" fmla="*/ 68073 h 523407"/>
                  <a:gd name="connsiteX17" fmla="*/ 182134 w 307351"/>
                  <a:gd name="connsiteY17" fmla="*/ 68073 h 523407"/>
                  <a:gd name="connsiteX18" fmla="*/ 182134 w 307351"/>
                  <a:gd name="connsiteY18" fmla="*/ 22767 h 523407"/>
                  <a:gd name="connsiteX19" fmla="*/ 290276 w 307351"/>
                  <a:gd name="connsiteY19" fmla="*/ 64202 h 523407"/>
                  <a:gd name="connsiteX20" fmla="*/ 251345 w 307351"/>
                  <a:gd name="connsiteY20" fmla="*/ 103133 h 523407"/>
                  <a:gd name="connsiteX21" fmla="*/ 267509 w 307351"/>
                  <a:gd name="connsiteY21" fmla="*/ 119298 h 523407"/>
                  <a:gd name="connsiteX22" fmla="*/ 277071 w 307351"/>
                  <a:gd name="connsiteY22" fmla="*/ 109736 h 523407"/>
                  <a:gd name="connsiteX23" fmla="*/ 307351 w 307351"/>
                  <a:gd name="connsiteY23" fmla="*/ 79456 h 523407"/>
                  <a:gd name="connsiteX24" fmla="*/ 307351 w 307351"/>
                  <a:gd name="connsiteY24" fmla="*/ 48721 h 523407"/>
                  <a:gd name="connsiteX25" fmla="*/ 181906 w 307351"/>
                  <a:gd name="connsiteY25" fmla="*/ 0 h 523407"/>
                  <a:gd name="connsiteX26" fmla="*/ 159367 w 307351"/>
                  <a:gd name="connsiteY26" fmla="*/ 22539 h 523407"/>
                  <a:gd name="connsiteX27" fmla="*/ 159367 w 307351"/>
                  <a:gd name="connsiteY27" fmla="*/ 45306 h 523407"/>
                  <a:gd name="connsiteX28" fmla="*/ 120436 w 307351"/>
                  <a:gd name="connsiteY28" fmla="*/ 45306 h 523407"/>
                  <a:gd name="connsiteX29" fmla="*/ 0 w 307351"/>
                  <a:gd name="connsiteY29" fmla="*/ 165742 h 523407"/>
                  <a:gd name="connsiteX30" fmla="*/ 0 w 307351"/>
                  <a:gd name="connsiteY30" fmla="*/ 233131 h 523407"/>
                  <a:gd name="connsiteX31" fmla="*/ 38020 w 307351"/>
                  <a:gd name="connsiteY31" fmla="*/ 261590 h 523407"/>
                  <a:gd name="connsiteX32" fmla="*/ 73081 w 307351"/>
                  <a:gd name="connsiteY32" fmla="*/ 261590 h 523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07351" h="523407">
                    <a:moveTo>
                      <a:pt x="73081" y="261590"/>
                    </a:moveTo>
                    <a:lnTo>
                      <a:pt x="107231" y="227440"/>
                    </a:lnTo>
                    <a:lnTo>
                      <a:pt x="159367" y="227440"/>
                    </a:lnTo>
                    <a:lnTo>
                      <a:pt x="159367" y="254988"/>
                    </a:lnTo>
                    <a:cubicBezTo>
                      <a:pt x="137739" y="268192"/>
                      <a:pt x="68300" y="318051"/>
                      <a:pt x="68300" y="420957"/>
                    </a:cubicBezTo>
                    <a:lnTo>
                      <a:pt x="68300" y="523407"/>
                    </a:lnTo>
                    <a:lnTo>
                      <a:pt x="91067" y="523407"/>
                    </a:lnTo>
                    <a:lnTo>
                      <a:pt x="91067" y="420957"/>
                    </a:lnTo>
                    <a:cubicBezTo>
                      <a:pt x="91067" y="315775"/>
                      <a:pt x="172344" y="273429"/>
                      <a:pt x="175759" y="271835"/>
                    </a:cubicBezTo>
                    <a:lnTo>
                      <a:pt x="182134" y="268648"/>
                    </a:lnTo>
                    <a:lnTo>
                      <a:pt x="182134" y="227440"/>
                    </a:lnTo>
                    <a:lnTo>
                      <a:pt x="159367" y="204673"/>
                    </a:lnTo>
                    <a:lnTo>
                      <a:pt x="97669" y="204673"/>
                    </a:lnTo>
                    <a:lnTo>
                      <a:pt x="55779" y="246564"/>
                    </a:lnTo>
                    <a:lnTo>
                      <a:pt x="22767" y="221748"/>
                    </a:lnTo>
                    <a:lnTo>
                      <a:pt x="22767" y="175304"/>
                    </a:lnTo>
                    <a:lnTo>
                      <a:pt x="129998" y="68073"/>
                    </a:lnTo>
                    <a:lnTo>
                      <a:pt x="182134" y="68073"/>
                    </a:lnTo>
                    <a:lnTo>
                      <a:pt x="182134" y="22767"/>
                    </a:lnTo>
                    <a:cubicBezTo>
                      <a:pt x="223569" y="25043"/>
                      <a:pt x="260452" y="39159"/>
                      <a:pt x="290276" y="64202"/>
                    </a:cubicBezTo>
                    <a:lnTo>
                      <a:pt x="251345" y="103133"/>
                    </a:lnTo>
                    <a:lnTo>
                      <a:pt x="267509" y="119298"/>
                    </a:lnTo>
                    <a:lnTo>
                      <a:pt x="277071" y="109736"/>
                    </a:lnTo>
                    <a:lnTo>
                      <a:pt x="307351" y="79456"/>
                    </a:lnTo>
                    <a:lnTo>
                      <a:pt x="307351" y="48721"/>
                    </a:lnTo>
                    <a:cubicBezTo>
                      <a:pt x="272973" y="18896"/>
                      <a:pt x="230172" y="2277"/>
                      <a:pt x="181906" y="0"/>
                    </a:cubicBezTo>
                    <a:lnTo>
                      <a:pt x="159367" y="22539"/>
                    </a:lnTo>
                    <a:lnTo>
                      <a:pt x="159367" y="45306"/>
                    </a:lnTo>
                    <a:lnTo>
                      <a:pt x="120436" y="45306"/>
                    </a:lnTo>
                    <a:lnTo>
                      <a:pt x="0" y="165742"/>
                    </a:lnTo>
                    <a:lnTo>
                      <a:pt x="0" y="233131"/>
                    </a:lnTo>
                    <a:lnTo>
                      <a:pt x="38020" y="261590"/>
                    </a:lnTo>
                    <a:lnTo>
                      <a:pt x="73081" y="261590"/>
                    </a:ln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80" name="Freeform 49">
                <a:extLst>
                  <a:ext uri="{FF2B5EF4-FFF2-40B4-BE49-F238E27FC236}">
                    <a16:creationId xmlns:a16="http://schemas.microsoft.com/office/drawing/2014/main" id="{80AAC9E9-C844-75A2-2806-C8F3A08E01AD}"/>
                  </a:ext>
                </a:extLst>
              </p:cNvPr>
              <p:cNvSpPr/>
              <p:nvPr/>
            </p:nvSpPr>
            <p:spPr>
              <a:xfrm>
                <a:off x="1440728" y="1674698"/>
                <a:ext cx="81504" cy="151854"/>
              </a:xfrm>
              <a:custGeom>
                <a:avLst/>
                <a:gdLst>
                  <a:gd name="connsiteX0" fmla="*/ 0 w 81504"/>
                  <a:gd name="connsiteY0" fmla="*/ 135690 h 151854"/>
                  <a:gd name="connsiteX1" fmla="*/ 16164 w 81504"/>
                  <a:gd name="connsiteY1" fmla="*/ 151854 h 151854"/>
                  <a:gd name="connsiteX2" fmla="*/ 48493 w 81504"/>
                  <a:gd name="connsiteY2" fmla="*/ 119525 h 151854"/>
                  <a:gd name="connsiteX3" fmla="*/ 63519 w 81504"/>
                  <a:gd name="connsiteY3" fmla="*/ 104499 h 151854"/>
                  <a:gd name="connsiteX4" fmla="*/ 81505 w 81504"/>
                  <a:gd name="connsiteY4" fmla="*/ 86514 h 151854"/>
                  <a:gd name="connsiteX5" fmla="*/ 40752 w 81504"/>
                  <a:gd name="connsiteY5" fmla="*/ 0 h 151854"/>
                  <a:gd name="connsiteX6" fmla="*/ 24588 w 81504"/>
                  <a:gd name="connsiteY6" fmla="*/ 16164 h 151854"/>
                  <a:gd name="connsiteX7" fmla="*/ 56006 w 81504"/>
                  <a:gd name="connsiteY7" fmla="*/ 79684 h 151854"/>
                  <a:gd name="connsiteX8" fmla="*/ 0 w 81504"/>
                  <a:gd name="connsiteY8" fmla="*/ 135690 h 151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504" h="151854">
                    <a:moveTo>
                      <a:pt x="0" y="135690"/>
                    </a:moveTo>
                    <a:lnTo>
                      <a:pt x="16164" y="151854"/>
                    </a:lnTo>
                    <a:lnTo>
                      <a:pt x="48493" y="119525"/>
                    </a:lnTo>
                    <a:lnTo>
                      <a:pt x="63519" y="104499"/>
                    </a:lnTo>
                    <a:lnTo>
                      <a:pt x="81505" y="86514"/>
                    </a:lnTo>
                    <a:cubicBezTo>
                      <a:pt x="73309" y="54413"/>
                      <a:pt x="59649" y="24816"/>
                      <a:pt x="40752" y="0"/>
                    </a:cubicBezTo>
                    <a:lnTo>
                      <a:pt x="24588" y="16164"/>
                    </a:lnTo>
                    <a:cubicBezTo>
                      <a:pt x="38248" y="34833"/>
                      <a:pt x="48721" y="56234"/>
                      <a:pt x="56006" y="79684"/>
                    </a:cubicBezTo>
                    <a:lnTo>
                      <a:pt x="0" y="135690"/>
                    </a:ln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81" name="Freeform 51">
                <a:extLst>
                  <a:ext uri="{FF2B5EF4-FFF2-40B4-BE49-F238E27FC236}">
                    <a16:creationId xmlns:a16="http://schemas.microsoft.com/office/drawing/2014/main" id="{29EC801A-E795-90ED-71FF-45FCFD5FFC1C}"/>
                  </a:ext>
                </a:extLst>
              </p:cNvPr>
              <p:cNvSpPr/>
              <p:nvPr/>
            </p:nvSpPr>
            <p:spPr>
              <a:xfrm>
                <a:off x="1441638" y="1788076"/>
                <a:ext cx="89245" cy="328751"/>
              </a:xfrm>
              <a:custGeom>
                <a:avLst/>
                <a:gdLst>
                  <a:gd name="connsiteX0" fmla="*/ 66479 w 89245"/>
                  <a:gd name="connsiteY0" fmla="*/ 44167 h 328751"/>
                  <a:gd name="connsiteX1" fmla="*/ 66479 w 89245"/>
                  <a:gd name="connsiteY1" fmla="*/ 146618 h 328751"/>
                  <a:gd name="connsiteX2" fmla="*/ 20945 w 89245"/>
                  <a:gd name="connsiteY2" fmla="*/ 146618 h 328751"/>
                  <a:gd name="connsiteX3" fmla="*/ 0 w 89245"/>
                  <a:gd name="connsiteY3" fmla="*/ 167563 h 328751"/>
                  <a:gd name="connsiteX4" fmla="*/ 35744 w 89245"/>
                  <a:gd name="connsiteY4" fmla="*/ 328752 h 328751"/>
                  <a:gd name="connsiteX5" fmla="*/ 58966 w 89245"/>
                  <a:gd name="connsiteY5" fmla="*/ 328752 h 328751"/>
                  <a:gd name="connsiteX6" fmla="*/ 23450 w 89245"/>
                  <a:gd name="connsiteY6" fmla="*/ 169385 h 328751"/>
                  <a:gd name="connsiteX7" fmla="*/ 66479 w 89245"/>
                  <a:gd name="connsiteY7" fmla="*/ 169385 h 328751"/>
                  <a:gd name="connsiteX8" fmla="*/ 89246 w 89245"/>
                  <a:gd name="connsiteY8" fmla="*/ 146618 h 328751"/>
                  <a:gd name="connsiteX9" fmla="*/ 89246 w 89245"/>
                  <a:gd name="connsiteY9" fmla="*/ 44167 h 328751"/>
                  <a:gd name="connsiteX10" fmla="*/ 85831 w 89245"/>
                  <a:gd name="connsiteY10" fmla="*/ 0 h 328751"/>
                  <a:gd name="connsiteX11" fmla="*/ 65341 w 89245"/>
                  <a:gd name="connsiteY11" fmla="*/ 20490 h 328751"/>
                  <a:gd name="connsiteX12" fmla="*/ 66479 w 89245"/>
                  <a:gd name="connsiteY12" fmla="*/ 44167 h 328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9245" h="328751">
                    <a:moveTo>
                      <a:pt x="66479" y="44167"/>
                    </a:moveTo>
                    <a:lnTo>
                      <a:pt x="66479" y="146618"/>
                    </a:lnTo>
                    <a:lnTo>
                      <a:pt x="20945" y="146618"/>
                    </a:lnTo>
                    <a:lnTo>
                      <a:pt x="0" y="167563"/>
                    </a:lnTo>
                    <a:lnTo>
                      <a:pt x="35744" y="328752"/>
                    </a:lnTo>
                    <a:lnTo>
                      <a:pt x="58966" y="328752"/>
                    </a:lnTo>
                    <a:lnTo>
                      <a:pt x="23450" y="169385"/>
                    </a:lnTo>
                    <a:lnTo>
                      <a:pt x="66479" y="169385"/>
                    </a:lnTo>
                    <a:lnTo>
                      <a:pt x="89246" y="146618"/>
                    </a:lnTo>
                    <a:lnTo>
                      <a:pt x="89246" y="44167"/>
                    </a:lnTo>
                    <a:cubicBezTo>
                      <a:pt x="89246" y="29141"/>
                      <a:pt x="88107" y="14343"/>
                      <a:pt x="85831" y="0"/>
                    </a:cubicBezTo>
                    <a:lnTo>
                      <a:pt x="65341" y="20490"/>
                    </a:lnTo>
                    <a:cubicBezTo>
                      <a:pt x="66024" y="28231"/>
                      <a:pt x="66479" y="36199"/>
                      <a:pt x="66479" y="44167"/>
                    </a:cubicBez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</p:grpSp>
      </p:grpSp>
      <p:sp>
        <p:nvSpPr>
          <p:cNvPr id="82" name="TextBox 61">
            <a:extLst>
              <a:ext uri="{FF2B5EF4-FFF2-40B4-BE49-F238E27FC236}">
                <a16:creationId xmlns:a16="http://schemas.microsoft.com/office/drawing/2014/main" id="{5749E30F-B4A5-B70F-194E-5EE1DC632253}"/>
              </a:ext>
            </a:extLst>
          </p:cNvPr>
          <p:cNvSpPr txBox="1"/>
          <p:nvPr/>
        </p:nvSpPr>
        <p:spPr>
          <a:xfrm>
            <a:off x="2639559" y="6047264"/>
            <a:ext cx="928139" cy="35907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  <a:t>Accenture</a:t>
            </a:r>
            <a:br>
              <a:rPr kumimoji="0" lang="pt-BR" sz="140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</a:br>
            <a:r>
              <a:rPr kumimoji="0" lang="pt-BR" sz="140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  <a:t>Ventures</a:t>
            </a:r>
            <a:endParaRPr kumimoji="0" lang="pt-BR" sz="1400" i="0" u="none" strike="noStrike" kern="0" cap="none" spc="0" normalizeH="0" baseline="0" noProof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Graphik Medium" panose="020B0603030202060203" pitchFamily="34" charset="0"/>
              <a:cs typeface="Arial"/>
            </a:endParaRP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E6D969E0-7253-B855-3888-8A81BEBE6223}"/>
              </a:ext>
            </a:extLst>
          </p:cNvPr>
          <p:cNvGrpSpPr/>
          <p:nvPr/>
        </p:nvGrpSpPr>
        <p:grpSpPr>
          <a:xfrm>
            <a:off x="2837385" y="5401677"/>
            <a:ext cx="532489" cy="532489"/>
            <a:chOff x="2837385" y="5193340"/>
            <a:chExt cx="532489" cy="532489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34D45165-EBDD-F06E-6471-ACE43BF8849D}"/>
                </a:ext>
              </a:extLst>
            </p:cNvPr>
            <p:cNvSpPr/>
            <p:nvPr/>
          </p:nvSpPr>
          <p:spPr>
            <a:xfrm>
              <a:off x="2837385" y="5193340"/>
              <a:ext cx="532489" cy="53248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grpSp>
          <p:nvGrpSpPr>
            <p:cNvPr id="85" name="Graphic 16">
              <a:extLst>
                <a:ext uri="{FF2B5EF4-FFF2-40B4-BE49-F238E27FC236}">
                  <a16:creationId xmlns:a16="http://schemas.microsoft.com/office/drawing/2014/main" id="{F2CB69C7-99B9-BA91-F64F-C0E001C0CE53}"/>
                </a:ext>
              </a:extLst>
            </p:cNvPr>
            <p:cNvGrpSpPr/>
            <p:nvPr/>
          </p:nvGrpSpPr>
          <p:grpSpPr>
            <a:xfrm>
              <a:off x="3029326" y="5315378"/>
              <a:ext cx="148606" cy="337290"/>
              <a:chOff x="3113040" y="1639115"/>
              <a:chExt cx="289592" cy="657283"/>
            </a:xfrm>
            <a:solidFill>
              <a:schemeClr val="accent1"/>
            </a:solidFill>
          </p:grpSpPr>
          <p:sp>
            <p:nvSpPr>
              <p:cNvPr id="86" name="Freeform 57">
                <a:extLst>
                  <a:ext uri="{FF2B5EF4-FFF2-40B4-BE49-F238E27FC236}">
                    <a16:creationId xmlns:a16="http://schemas.microsoft.com/office/drawing/2014/main" id="{7156B3A5-983C-D18A-85F8-3E55A8983809}"/>
                  </a:ext>
                </a:extLst>
              </p:cNvPr>
              <p:cNvSpPr/>
              <p:nvPr/>
            </p:nvSpPr>
            <p:spPr>
              <a:xfrm>
                <a:off x="3120781" y="1639115"/>
                <a:ext cx="273200" cy="362588"/>
              </a:xfrm>
              <a:custGeom>
                <a:avLst/>
                <a:gdLst>
                  <a:gd name="connsiteX0" fmla="*/ 79684 w 273200"/>
                  <a:gd name="connsiteY0" fmla="*/ 317251 h 362588"/>
                  <a:gd name="connsiteX1" fmla="*/ 79684 w 273200"/>
                  <a:gd name="connsiteY1" fmla="*/ 339920 h 362588"/>
                  <a:gd name="connsiteX2" fmla="*/ 102450 w 273200"/>
                  <a:gd name="connsiteY2" fmla="*/ 362588 h 362588"/>
                  <a:gd name="connsiteX3" fmla="*/ 102450 w 273200"/>
                  <a:gd name="connsiteY3" fmla="*/ 317251 h 362588"/>
                  <a:gd name="connsiteX4" fmla="*/ 67162 w 273200"/>
                  <a:gd name="connsiteY4" fmla="*/ 244484 h 362588"/>
                  <a:gd name="connsiteX5" fmla="*/ 22767 w 273200"/>
                  <a:gd name="connsiteY5" fmla="*/ 135900 h 362588"/>
                  <a:gd name="connsiteX6" fmla="*/ 56006 w 273200"/>
                  <a:gd name="connsiteY6" fmla="*/ 55652 h 362588"/>
                  <a:gd name="connsiteX7" fmla="*/ 216967 w 273200"/>
                  <a:gd name="connsiteY7" fmla="*/ 55652 h 362588"/>
                  <a:gd name="connsiteX8" fmla="*/ 250207 w 273200"/>
                  <a:gd name="connsiteY8" fmla="*/ 135900 h 362588"/>
                  <a:gd name="connsiteX9" fmla="*/ 205811 w 273200"/>
                  <a:gd name="connsiteY9" fmla="*/ 244484 h 362588"/>
                  <a:gd name="connsiteX10" fmla="*/ 170751 w 273200"/>
                  <a:gd name="connsiteY10" fmla="*/ 317251 h 362588"/>
                  <a:gd name="connsiteX11" fmla="*/ 170751 w 273200"/>
                  <a:gd name="connsiteY11" fmla="*/ 362588 h 362588"/>
                  <a:gd name="connsiteX12" fmla="*/ 193517 w 273200"/>
                  <a:gd name="connsiteY12" fmla="*/ 339920 h 362588"/>
                  <a:gd name="connsiteX13" fmla="*/ 193517 w 273200"/>
                  <a:gd name="connsiteY13" fmla="*/ 317251 h 362588"/>
                  <a:gd name="connsiteX14" fmla="*/ 222886 w 273200"/>
                  <a:gd name="connsiteY14" fmla="*/ 259672 h 362588"/>
                  <a:gd name="connsiteX15" fmla="*/ 273201 w 273200"/>
                  <a:gd name="connsiteY15" fmla="*/ 135900 h 362588"/>
                  <a:gd name="connsiteX16" fmla="*/ 233131 w 273200"/>
                  <a:gd name="connsiteY16" fmla="*/ 39784 h 362588"/>
                  <a:gd name="connsiteX17" fmla="*/ 39842 w 273200"/>
                  <a:gd name="connsiteY17" fmla="*/ 39784 h 362588"/>
                  <a:gd name="connsiteX18" fmla="*/ 0 w 273200"/>
                  <a:gd name="connsiteY18" fmla="*/ 135900 h 362588"/>
                  <a:gd name="connsiteX19" fmla="*/ 50315 w 273200"/>
                  <a:gd name="connsiteY19" fmla="*/ 259672 h 362588"/>
                  <a:gd name="connsiteX20" fmla="*/ 79684 w 273200"/>
                  <a:gd name="connsiteY20" fmla="*/ 317251 h 362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73200" h="362588">
                    <a:moveTo>
                      <a:pt x="79684" y="317251"/>
                    </a:moveTo>
                    <a:lnTo>
                      <a:pt x="79684" y="339920"/>
                    </a:lnTo>
                    <a:lnTo>
                      <a:pt x="102450" y="362588"/>
                    </a:lnTo>
                    <a:lnTo>
                      <a:pt x="102450" y="317251"/>
                    </a:lnTo>
                    <a:cubicBezTo>
                      <a:pt x="102450" y="283247"/>
                      <a:pt x="84465" y="263526"/>
                      <a:pt x="67162" y="244484"/>
                    </a:cubicBezTo>
                    <a:cubicBezTo>
                      <a:pt x="45306" y="220455"/>
                      <a:pt x="22767" y="195519"/>
                      <a:pt x="22767" y="135900"/>
                    </a:cubicBezTo>
                    <a:cubicBezTo>
                      <a:pt x="22767" y="105524"/>
                      <a:pt x="34605" y="77187"/>
                      <a:pt x="56006" y="55652"/>
                    </a:cubicBezTo>
                    <a:cubicBezTo>
                      <a:pt x="100401" y="11448"/>
                      <a:pt x="172572" y="11448"/>
                      <a:pt x="216967" y="55652"/>
                    </a:cubicBezTo>
                    <a:cubicBezTo>
                      <a:pt x="238368" y="76961"/>
                      <a:pt x="250207" y="105524"/>
                      <a:pt x="250207" y="135900"/>
                    </a:cubicBezTo>
                    <a:cubicBezTo>
                      <a:pt x="250207" y="195519"/>
                      <a:pt x="227667" y="220228"/>
                      <a:pt x="205811" y="244484"/>
                    </a:cubicBezTo>
                    <a:cubicBezTo>
                      <a:pt x="188736" y="263526"/>
                      <a:pt x="170751" y="283247"/>
                      <a:pt x="170751" y="317251"/>
                    </a:cubicBezTo>
                    <a:lnTo>
                      <a:pt x="170751" y="362588"/>
                    </a:lnTo>
                    <a:lnTo>
                      <a:pt x="193517" y="339920"/>
                    </a:lnTo>
                    <a:lnTo>
                      <a:pt x="193517" y="317251"/>
                    </a:lnTo>
                    <a:cubicBezTo>
                      <a:pt x="193517" y="291862"/>
                      <a:pt x="206494" y="277580"/>
                      <a:pt x="222886" y="259672"/>
                    </a:cubicBezTo>
                    <a:cubicBezTo>
                      <a:pt x="245198" y="234963"/>
                      <a:pt x="273201" y="204133"/>
                      <a:pt x="273201" y="135900"/>
                    </a:cubicBezTo>
                    <a:cubicBezTo>
                      <a:pt x="273201" y="99630"/>
                      <a:pt x="259086" y="65400"/>
                      <a:pt x="233131" y="39784"/>
                    </a:cubicBezTo>
                    <a:cubicBezTo>
                      <a:pt x="179857" y="-13261"/>
                      <a:pt x="93116" y="-13261"/>
                      <a:pt x="39842" y="39784"/>
                    </a:cubicBezTo>
                    <a:cubicBezTo>
                      <a:pt x="14115" y="65400"/>
                      <a:pt x="0" y="99630"/>
                      <a:pt x="0" y="135900"/>
                    </a:cubicBezTo>
                    <a:cubicBezTo>
                      <a:pt x="0" y="204133"/>
                      <a:pt x="28003" y="234963"/>
                      <a:pt x="50315" y="259672"/>
                    </a:cubicBezTo>
                    <a:cubicBezTo>
                      <a:pt x="66707" y="277580"/>
                      <a:pt x="79684" y="291862"/>
                      <a:pt x="79684" y="317251"/>
                    </a:cubicBez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87" name="Freeform 58">
                <a:extLst>
                  <a:ext uri="{FF2B5EF4-FFF2-40B4-BE49-F238E27FC236}">
                    <a16:creationId xmlns:a16="http://schemas.microsoft.com/office/drawing/2014/main" id="{16E14922-9DFA-4A5F-6597-0D1297AE69DB}"/>
                  </a:ext>
                </a:extLst>
              </p:cNvPr>
              <p:cNvSpPr/>
              <p:nvPr/>
            </p:nvSpPr>
            <p:spPr>
              <a:xfrm>
                <a:off x="3113040" y="1816499"/>
                <a:ext cx="289592" cy="479899"/>
              </a:xfrm>
              <a:custGeom>
                <a:avLst/>
                <a:gdLst>
                  <a:gd name="connsiteX0" fmla="*/ 179402 w 289592"/>
                  <a:gd name="connsiteY0" fmla="*/ 301269 h 479899"/>
                  <a:gd name="connsiteX1" fmla="*/ 155725 w 289592"/>
                  <a:gd name="connsiteY1" fmla="*/ 330059 h 479899"/>
                  <a:gd name="connsiteX2" fmla="*/ 155725 w 289592"/>
                  <a:gd name="connsiteY2" fmla="*/ 95209 h 479899"/>
                  <a:gd name="connsiteX3" fmla="*/ 190785 w 289592"/>
                  <a:gd name="connsiteY3" fmla="*/ 16095 h 479899"/>
                  <a:gd name="connsiteX4" fmla="*/ 174621 w 289592"/>
                  <a:gd name="connsiteY4" fmla="*/ 0 h 479899"/>
                  <a:gd name="connsiteX5" fmla="*/ 144341 w 289592"/>
                  <a:gd name="connsiteY5" fmla="*/ 47831 h 479899"/>
                  <a:gd name="connsiteX6" fmla="*/ 114061 w 289592"/>
                  <a:gd name="connsiteY6" fmla="*/ 0 h 479899"/>
                  <a:gd name="connsiteX7" fmla="*/ 97897 w 289592"/>
                  <a:gd name="connsiteY7" fmla="*/ 16095 h 479899"/>
                  <a:gd name="connsiteX8" fmla="*/ 132958 w 289592"/>
                  <a:gd name="connsiteY8" fmla="*/ 95436 h 479899"/>
                  <a:gd name="connsiteX9" fmla="*/ 132958 w 289592"/>
                  <a:gd name="connsiteY9" fmla="*/ 285854 h 479899"/>
                  <a:gd name="connsiteX10" fmla="*/ 109280 w 289592"/>
                  <a:gd name="connsiteY10" fmla="*/ 257065 h 479899"/>
                  <a:gd name="connsiteX11" fmla="*/ 21856 w 289592"/>
                  <a:gd name="connsiteY11" fmla="*/ 212634 h 479899"/>
                  <a:gd name="connsiteX12" fmla="*/ 0 w 289592"/>
                  <a:gd name="connsiteY12" fmla="*/ 234396 h 479899"/>
                  <a:gd name="connsiteX13" fmla="*/ 44623 w 289592"/>
                  <a:gd name="connsiteY13" fmla="*/ 321444 h 479899"/>
                  <a:gd name="connsiteX14" fmla="*/ 91295 w 289592"/>
                  <a:gd name="connsiteY14" fmla="*/ 352727 h 479899"/>
                  <a:gd name="connsiteX15" fmla="*/ 108825 w 289592"/>
                  <a:gd name="connsiteY15" fmla="*/ 335272 h 479899"/>
                  <a:gd name="connsiteX16" fmla="*/ 61015 w 289592"/>
                  <a:gd name="connsiteY16" fmla="*/ 305350 h 479899"/>
                  <a:gd name="connsiteX17" fmla="*/ 24133 w 289592"/>
                  <a:gd name="connsiteY17" fmla="*/ 236210 h 479899"/>
                  <a:gd name="connsiteX18" fmla="*/ 93571 w 289592"/>
                  <a:gd name="connsiteY18" fmla="*/ 272933 h 479899"/>
                  <a:gd name="connsiteX19" fmla="*/ 117021 w 289592"/>
                  <a:gd name="connsiteY19" fmla="*/ 299682 h 479899"/>
                  <a:gd name="connsiteX20" fmla="*/ 133413 w 289592"/>
                  <a:gd name="connsiteY20" fmla="*/ 356354 h 479899"/>
                  <a:gd name="connsiteX21" fmla="*/ 133413 w 289592"/>
                  <a:gd name="connsiteY21" fmla="*/ 356354 h 479899"/>
                  <a:gd name="connsiteX22" fmla="*/ 133413 w 289592"/>
                  <a:gd name="connsiteY22" fmla="*/ 356354 h 479899"/>
                  <a:gd name="connsiteX23" fmla="*/ 133413 w 289592"/>
                  <a:gd name="connsiteY23" fmla="*/ 479900 h 479899"/>
                  <a:gd name="connsiteX24" fmla="*/ 156180 w 289592"/>
                  <a:gd name="connsiteY24" fmla="*/ 479900 h 479899"/>
                  <a:gd name="connsiteX25" fmla="*/ 156180 w 289592"/>
                  <a:gd name="connsiteY25" fmla="*/ 400559 h 479899"/>
                  <a:gd name="connsiteX26" fmla="*/ 156180 w 289592"/>
                  <a:gd name="connsiteY26" fmla="*/ 400559 h 479899"/>
                  <a:gd name="connsiteX27" fmla="*/ 172572 w 289592"/>
                  <a:gd name="connsiteY27" fmla="*/ 343887 h 479899"/>
                  <a:gd name="connsiteX28" fmla="*/ 196022 w 289592"/>
                  <a:gd name="connsiteY28" fmla="*/ 317137 h 479899"/>
                  <a:gd name="connsiteX29" fmla="*/ 265460 w 289592"/>
                  <a:gd name="connsiteY29" fmla="*/ 280414 h 479899"/>
                  <a:gd name="connsiteX30" fmla="*/ 228578 w 289592"/>
                  <a:gd name="connsiteY30" fmla="*/ 349554 h 479899"/>
                  <a:gd name="connsiteX31" fmla="*/ 180768 w 289592"/>
                  <a:gd name="connsiteY31" fmla="*/ 379477 h 479899"/>
                  <a:gd name="connsiteX32" fmla="*/ 198298 w 289592"/>
                  <a:gd name="connsiteY32" fmla="*/ 396932 h 479899"/>
                  <a:gd name="connsiteX33" fmla="*/ 244970 w 289592"/>
                  <a:gd name="connsiteY33" fmla="*/ 365649 h 479899"/>
                  <a:gd name="connsiteX34" fmla="*/ 289593 w 289592"/>
                  <a:gd name="connsiteY34" fmla="*/ 278600 h 479899"/>
                  <a:gd name="connsiteX35" fmla="*/ 267737 w 289592"/>
                  <a:gd name="connsiteY35" fmla="*/ 256838 h 479899"/>
                  <a:gd name="connsiteX36" fmla="*/ 179402 w 289592"/>
                  <a:gd name="connsiteY36" fmla="*/ 301269 h 479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89592" h="479899">
                    <a:moveTo>
                      <a:pt x="179402" y="301269"/>
                    </a:moveTo>
                    <a:cubicBezTo>
                      <a:pt x="169612" y="311017"/>
                      <a:pt x="161872" y="321898"/>
                      <a:pt x="155725" y="330059"/>
                    </a:cubicBezTo>
                    <a:lnTo>
                      <a:pt x="155725" y="95209"/>
                    </a:lnTo>
                    <a:cubicBezTo>
                      <a:pt x="155725" y="94756"/>
                      <a:pt x="156180" y="46471"/>
                      <a:pt x="190785" y="16095"/>
                    </a:cubicBezTo>
                    <a:lnTo>
                      <a:pt x="174621" y="0"/>
                    </a:lnTo>
                    <a:cubicBezTo>
                      <a:pt x="160050" y="13148"/>
                      <a:pt x="150488" y="33323"/>
                      <a:pt x="144341" y="47831"/>
                    </a:cubicBezTo>
                    <a:cubicBezTo>
                      <a:pt x="138194" y="33097"/>
                      <a:pt x="128632" y="13148"/>
                      <a:pt x="114061" y="0"/>
                    </a:cubicBezTo>
                    <a:lnTo>
                      <a:pt x="97897" y="16095"/>
                    </a:lnTo>
                    <a:cubicBezTo>
                      <a:pt x="132275" y="46471"/>
                      <a:pt x="132958" y="94756"/>
                      <a:pt x="132958" y="95436"/>
                    </a:cubicBezTo>
                    <a:lnTo>
                      <a:pt x="132958" y="285854"/>
                    </a:lnTo>
                    <a:cubicBezTo>
                      <a:pt x="126811" y="277694"/>
                      <a:pt x="119070" y="266586"/>
                      <a:pt x="109280" y="257065"/>
                    </a:cubicBezTo>
                    <a:cubicBezTo>
                      <a:pt x="79684" y="227595"/>
                      <a:pt x="40752" y="216488"/>
                      <a:pt x="21856" y="212634"/>
                    </a:cubicBezTo>
                    <a:lnTo>
                      <a:pt x="0" y="234396"/>
                    </a:lnTo>
                    <a:cubicBezTo>
                      <a:pt x="3870" y="253211"/>
                      <a:pt x="15026" y="291975"/>
                      <a:pt x="44623" y="321444"/>
                    </a:cubicBezTo>
                    <a:cubicBezTo>
                      <a:pt x="58966" y="335726"/>
                      <a:pt x="75813" y="345700"/>
                      <a:pt x="91295" y="352727"/>
                    </a:cubicBezTo>
                    <a:lnTo>
                      <a:pt x="108825" y="335272"/>
                    </a:lnTo>
                    <a:cubicBezTo>
                      <a:pt x="93344" y="329379"/>
                      <a:pt x="75586" y="319858"/>
                      <a:pt x="61015" y="305350"/>
                    </a:cubicBezTo>
                    <a:cubicBezTo>
                      <a:pt x="38703" y="283134"/>
                      <a:pt x="28686" y="253891"/>
                      <a:pt x="24133" y="236210"/>
                    </a:cubicBezTo>
                    <a:cubicBezTo>
                      <a:pt x="41891" y="240517"/>
                      <a:pt x="71260" y="250718"/>
                      <a:pt x="93571" y="272933"/>
                    </a:cubicBezTo>
                    <a:cubicBezTo>
                      <a:pt x="103589" y="282907"/>
                      <a:pt x="111329" y="291748"/>
                      <a:pt x="117021" y="299682"/>
                    </a:cubicBezTo>
                    <a:cubicBezTo>
                      <a:pt x="131364" y="319858"/>
                      <a:pt x="133413" y="335046"/>
                      <a:pt x="133413" y="356354"/>
                    </a:cubicBezTo>
                    <a:lnTo>
                      <a:pt x="133413" y="356354"/>
                    </a:lnTo>
                    <a:lnTo>
                      <a:pt x="133413" y="356354"/>
                    </a:lnTo>
                    <a:lnTo>
                      <a:pt x="133413" y="479900"/>
                    </a:lnTo>
                    <a:lnTo>
                      <a:pt x="156180" y="479900"/>
                    </a:lnTo>
                    <a:lnTo>
                      <a:pt x="156180" y="400559"/>
                    </a:lnTo>
                    <a:lnTo>
                      <a:pt x="156180" y="400559"/>
                    </a:lnTo>
                    <a:cubicBezTo>
                      <a:pt x="156180" y="379250"/>
                      <a:pt x="158229" y="364062"/>
                      <a:pt x="172572" y="343887"/>
                    </a:cubicBezTo>
                    <a:cubicBezTo>
                      <a:pt x="178264" y="335953"/>
                      <a:pt x="185777" y="327338"/>
                      <a:pt x="196022" y="317137"/>
                    </a:cubicBezTo>
                    <a:cubicBezTo>
                      <a:pt x="218333" y="294922"/>
                      <a:pt x="247702" y="284948"/>
                      <a:pt x="265460" y="280414"/>
                    </a:cubicBezTo>
                    <a:cubicBezTo>
                      <a:pt x="261135" y="298095"/>
                      <a:pt x="250889" y="327338"/>
                      <a:pt x="228578" y="349554"/>
                    </a:cubicBezTo>
                    <a:cubicBezTo>
                      <a:pt x="214007" y="364062"/>
                      <a:pt x="196249" y="373583"/>
                      <a:pt x="180768" y="379477"/>
                    </a:cubicBezTo>
                    <a:lnTo>
                      <a:pt x="198298" y="396932"/>
                    </a:lnTo>
                    <a:cubicBezTo>
                      <a:pt x="213780" y="389904"/>
                      <a:pt x="230399" y="379930"/>
                      <a:pt x="244970" y="365649"/>
                    </a:cubicBezTo>
                    <a:cubicBezTo>
                      <a:pt x="274567" y="336179"/>
                      <a:pt x="285723" y="297415"/>
                      <a:pt x="289593" y="278600"/>
                    </a:cubicBezTo>
                    <a:lnTo>
                      <a:pt x="267737" y="256838"/>
                    </a:lnTo>
                    <a:cubicBezTo>
                      <a:pt x="247930" y="260692"/>
                      <a:pt x="208999" y="271800"/>
                      <a:pt x="179402" y="301269"/>
                    </a:cubicBez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</p:grpSp>
      </p:grpSp>
      <p:sp>
        <p:nvSpPr>
          <p:cNvPr id="88" name="TextBox 61">
            <a:extLst>
              <a:ext uri="{FF2B5EF4-FFF2-40B4-BE49-F238E27FC236}">
                <a16:creationId xmlns:a16="http://schemas.microsoft.com/office/drawing/2014/main" id="{30250A76-3E13-2E44-EF5F-36871F1685E8}"/>
              </a:ext>
            </a:extLst>
          </p:cNvPr>
          <p:cNvSpPr txBox="1"/>
          <p:nvPr/>
        </p:nvSpPr>
        <p:spPr>
          <a:xfrm>
            <a:off x="4655034" y="6047264"/>
            <a:ext cx="928139" cy="35907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  <a:t>Accenture</a:t>
            </a:r>
            <a:br>
              <a:rPr kumimoji="0" lang="pt-BR" sz="140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</a:br>
            <a:r>
              <a:rPr kumimoji="0" lang="pt-BR" sz="1400" i="0" u="none" strike="noStrike" kern="1200" cap="none" spc="0" normalizeH="0" baseline="0" noProof="0" err="1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  <a:t>Labs</a:t>
            </a:r>
            <a:endParaRPr kumimoji="0" lang="pt-BR" sz="1400" i="0" u="none" strike="noStrike" kern="0" cap="none" spc="0" normalizeH="0" baseline="0" noProof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Graphik Medium" panose="020B0603030202060203" pitchFamily="34" charset="0"/>
              <a:cs typeface="Arial"/>
            </a:endParaRP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D5155F45-633D-0785-31E9-77BE7FFE82BE}"/>
              </a:ext>
            </a:extLst>
          </p:cNvPr>
          <p:cNvGrpSpPr/>
          <p:nvPr/>
        </p:nvGrpSpPr>
        <p:grpSpPr>
          <a:xfrm>
            <a:off x="4852860" y="5401677"/>
            <a:ext cx="532489" cy="532489"/>
            <a:chOff x="4852860" y="5193340"/>
            <a:chExt cx="532489" cy="532489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14AE8EED-86C2-C33C-B430-F1110A938552}"/>
                </a:ext>
              </a:extLst>
            </p:cNvPr>
            <p:cNvSpPr/>
            <p:nvPr/>
          </p:nvSpPr>
          <p:spPr>
            <a:xfrm>
              <a:off x="4852860" y="5193340"/>
              <a:ext cx="532489" cy="53248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grpSp>
          <p:nvGrpSpPr>
            <p:cNvPr id="91" name="Graphic 21">
              <a:extLst>
                <a:ext uri="{FF2B5EF4-FFF2-40B4-BE49-F238E27FC236}">
                  <a16:creationId xmlns:a16="http://schemas.microsoft.com/office/drawing/2014/main" id="{B5AE18FB-552F-459D-5593-DFF20A619240}"/>
                </a:ext>
              </a:extLst>
            </p:cNvPr>
            <p:cNvGrpSpPr/>
            <p:nvPr/>
          </p:nvGrpSpPr>
          <p:grpSpPr>
            <a:xfrm>
              <a:off x="4983466" y="5307706"/>
              <a:ext cx="271277" cy="303756"/>
              <a:chOff x="4935861" y="1662452"/>
              <a:chExt cx="528643" cy="591935"/>
            </a:xfrm>
            <a:solidFill>
              <a:schemeClr val="accent1"/>
            </a:solidFill>
          </p:grpSpPr>
          <p:sp>
            <p:nvSpPr>
              <p:cNvPr id="92" name="Freeform 64">
                <a:extLst>
                  <a:ext uri="{FF2B5EF4-FFF2-40B4-BE49-F238E27FC236}">
                    <a16:creationId xmlns:a16="http://schemas.microsoft.com/office/drawing/2014/main" id="{FDCF4BF8-8E5E-6B73-BE50-16ED39BFF796}"/>
                  </a:ext>
                </a:extLst>
              </p:cNvPr>
              <p:cNvSpPr/>
              <p:nvPr/>
            </p:nvSpPr>
            <p:spPr>
              <a:xfrm>
                <a:off x="4935861" y="1662452"/>
                <a:ext cx="528643" cy="591935"/>
              </a:xfrm>
              <a:custGeom>
                <a:avLst/>
                <a:gdLst>
                  <a:gd name="connsiteX0" fmla="*/ 344006 w 528643"/>
                  <a:gd name="connsiteY0" fmla="*/ 68300 h 591935"/>
                  <a:gd name="connsiteX1" fmla="*/ 366772 w 528643"/>
                  <a:gd name="connsiteY1" fmla="*/ 68300 h 591935"/>
                  <a:gd name="connsiteX2" fmla="*/ 366772 w 528643"/>
                  <a:gd name="connsiteY2" fmla="*/ 68300 h 591935"/>
                  <a:gd name="connsiteX3" fmla="*/ 389539 w 528643"/>
                  <a:gd name="connsiteY3" fmla="*/ 45533 h 591935"/>
                  <a:gd name="connsiteX4" fmla="*/ 389539 w 528643"/>
                  <a:gd name="connsiteY4" fmla="*/ 22767 h 591935"/>
                  <a:gd name="connsiteX5" fmla="*/ 366772 w 528643"/>
                  <a:gd name="connsiteY5" fmla="*/ 0 h 591935"/>
                  <a:gd name="connsiteX6" fmla="*/ 161872 w 528643"/>
                  <a:gd name="connsiteY6" fmla="*/ 0 h 591935"/>
                  <a:gd name="connsiteX7" fmla="*/ 139105 w 528643"/>
                  <a:gd name="connsiteY7" fmla="*/ 22767 h 591935"/>
                  <a:gd name="connsiteX8" fmla="*/ 139105 w 528643"/>
                  <a:gd name="connsiteY8" fmla="*/ 45533 h 591935"/>
                  <a:gd name="connsiteX9" fmla="*/ 161872 w 528643"/>
                  <a:gd name="connsiteY9" fmla="*/ 68300 h 591935"/>
                  <a:gd name="connsiteX10" fmla="*/ 161872 w 528643"/>
                  <a:gd name="connsiteY10" fmla="*/ 68300 h 591935"/>
                  <a:gd name="connsiteX11" fmla="*/ 184638 w 528643"/>
                  <a:gd name="connsiteY11" fmla="*/ 68300 h 591935"/>
                  <a:gd name="connsiteX12" fmla="*/ 184638 w 528643"/>
                  <a:gd name="connsiteY12" fmla="*/ 190785 h 591935"/>
                  <a:gd name="connsiteX13" fmla="*/ 0 w 528643"/>
                  <a:gd name="connsiteY13" fmla="*/ 560062 h 591935"/>
                  <a:gd name="connsiteX14" fmla="*/ 31873 w 528643"/>
                  <a:gd name="connsiteY14" fmla="*/ 591935 h 591935"/>
                  <a:gd name="connsiteX15" fmla="*/ 271607 w 528643"/>
                  <a:gd name="connsiteY15" fmla="*/ 591935 h 591935"/>
                  <a:gd name="connsiteX16" fmla="*/ 262273 w 528643"/>
                  <a:gd name="connsiteY16" fmla="*/ 569169 h 591935"/>
                  <a:gd name="connsiteX17" fmla="*/ 41435 w 528643"/>
                  <a:gd name="connsiteY17" fmla="*/ 569169 h 591935"/>
                  <a:gd name="connsiteX18" fmla="*/ 27775 w 528643"/>
                  <a:gd name="connsiteY18" fmla="*/ 555509 h 591935"/>
                  <a:gd name="connsiteX19" fmla="*/ 203079 w 528643"/>
                  <a:gd name="connsiteY19" fmla="*/ 204901 h 591935"/>
                  <a:gd name="connsiteX20" fmla="*/ 241555 w 528643"/>
                  <a:gd name="connsiteY20" fmla="*/ 204901 h 591935"/>
                  <a:gd name="connsiteX21" fmla="*/ 241555 w 528643"/>
                  <a:gd name="connsiteY21" fmla="*/ 182134 h 591935"/>
                  <a:gd name="connsiteX22" fmla="*/ 207405 w 528643"/>
                  <a:gd name="connsiteY22" fmla="*/ 182134 h 591935"/>
                  <a:gd name="connsiteX23" fmla="*/ 207405 w 528643"/>
                  <a:gd name="connsiteY23" fmla="*/ 136600 h 591935"/>
                  <a:gd name="connsiteX24" fmla="*/ 241555 w 528643"/>
                  <a:gd name="connsiteY24" fmla="*/ 136600 h 591935"/>
                  <a:gd name="connsiteX25" fmla="*/ 241555 w 528643"/>
                  <a:gd name="connsiteY25" fmla="*/ 113834 h 591935"/>
                  <a:gd name="connsiteX26" fmla="*/ 207405 w 528643"/>
                  <a:gd name="connsiteY26" fmla="*/ 113834 h 591935"/>
                  <a:gd name="connsiteX27" fmla="*/ 207405 w 528643"/>
                  <a:gd name="connsiteY27" fmla="*/ 68300 h 591935"/>
                  <a:gd name="connsiteX28" fmla="*/ 275705 w 528643"/>
                  <a:gd name="connsiteY28" fmla="*/ 68300 h 591935"/>
                  <a:gd name="connsiteX29" fmla="*/ 275705 w 528643"/>
                  <a:gd name="connsiteY29" fmla="*/ 45533 h 591935"/>
                  <a:gd name="connsiteX30" fmla="*/ 161872 w 528643"/>
                  <a:gd name="connsiteY30" fmla="*/ 45533 h 591935"/>
                  <a:gd name="connsiteX31" fmla="*/ 161872 w 528643"/>
                  <a:gd name="connsiteY31" fmla="*/ 22767 h 591935"/>
                  <a:gd name="connsiteX32" fmla="*/ 366772 w 528643"/>
                  <a:gd name="connsiteY32" fmla="*/ 22767 h 591935"/>
                  <a:gd name="connsiteX33" fmla="*/ 366772 w 528643"/>
                  <a:gd name="connsiteY33" fmla="*/ 45533 h 591935"/>
                  <a:gd name="connsiteX34" fmla="*/ 321239 w 528643"/>
                  <a:gd name="connsiteY34" fmla="*/ 45533 h 591935"/>
                  <a:gd name="connsiteX35" fmla="*/ 321239 w 528643"/>
                  <a:gd name="connsiteY35" fmla="*/ 196249 h 591935"/>
                  <a:gd name="connsiteX36" fmla="*/ 500868 w 528643"/>
                  <a:gd name="connsiteY36" fmla="*/ 555509 h 591935"/>
                  <a:gd name="connsiteX37" fmla="*/ 487208 w 528643"/>
                  <a:gd name="connsiteY37" fmla="*/ 569169 h 591935"/>
                  <a:gd name="connsiteX38" fmla="*/ 450099 w 528643"/>
                  <a:gd name="connsiteY38" fmla="*/ 569169 h 591935"/>
                  <a:gd name="connsiteX39" fmla="*/ 459433 w 528643"/>
                  <a:gd name="connsiteY39" fmla="*/ 591935 h 591935"/>
                  <a:gd name="connsiteX40" fmla="*/ 496770 w 528643"/>
                  <a:gd name="connsiteY40" fmla="*/ 591935 h 591935"/>
                  <a:gd name="connsiteX41" fmla="*/ 528644 w 528643"/>
                  <a:gd name="connsiteY41" fmla="*/ 560062 h 591935"/>
                  <a:gd name="connsiteX42" fmla="*/ 344006 w 528643"/>
                  <a:gd name="connsiteY42" fmla="*/ 190785 h 591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528643" h="591935">
                    <a:moveTo>
                      <a:pt x="344006" y="68300"/>
                    </a:moveTo>
                    <a:lnTo>
                      <a:pt x="366772" y="68300"/>
                    </a:lnTo>
                    <a:lnTo>
                      <a:pt x="366772" y="68300"/>
                    </a:lnTo>
                    <a:lnTo>
                      <a:pt x="389539" y="45533"/>
                    </a:lnTo>
                    <a:lnTo>
                      <a:pt x="389539" y="22767"/>
                    </a:lnTo>
                    <a:lnTo>
                      <a:pt x="366772" y="0"/>
                    </a:lnTo>
                    <a:lnTo>
                      <a:pt x="161872" y="0"/>
                    </a:lnTo>
                    <a:lnTo>
                      <a:pt x="139105" y="22767"/>
                    </a:lnTo>
                    <a:lnTo>
                      <a:pt x="139105" y="45533"/>
                    </a:lnTo>
                    <a:lnTo>
                      <a:pt x="161872" y="68300"/>
                    </a:lnTo>
                    <a:lnTo>
                      <a:pt x="161872" y="68300"/>
                    </a:lnTo>
                    <a:lnTo>
                      <a:pt x="184638" y="68300"/>
                    </a:lnTo>
                    <a:lnTo>
                      <a:pt x="184638" y="190785"/>
                    </a:lnTo>
                    <a:lnTo>
                      <a:pt x="0" y="560062"/>
                    </a:lnTo>
                    <a:lnTo>
                      <a:pt x="31873" y="591935"/>
                    </a:lnTo>
                    <a:lnTo>
                      <a:pt x="271607" y="591935"/>
                    </a:lnTo>
                    <a:lnTo>
                      <a:pt x="262273" y="569169"/>
                    </a:lnTo>
                    <a:lnTo>
                      <a:pt x="41435" y="569169"/>
                    </a:lnTo>
                    <a:lnTo>
                      <a:pt x="27775" y="555509"/>
                    </a:lnTo>
                    <a:lnTo>
                      <a:pt x="203079" y="204901"/>
                    </a:lnTo>
                    <a:lnTo>
                      <a:pt x="241555" y="204901"/>
                    </a:lnTo>
                    <a:lnTo>
                      <a:pt x="241555" y="182134"/>
                    </a:lnTo>
                    <a:lnTo>
                      <a:pt x="207405" y="182134"/>
                    </a:lnTo>
                    <a:lnTo>
                      <a:pt x="207405" y="136600"/>
                    </a:lnTo>
                    <a:lnTo>
                      <a:pt x="241555" y="136600"/>
                    </a:lnTo>
                    <a:lnTo>
                      <a:pt x="241555" y="113834"/>
                    </a:lnTo>
                    <a:lnTo>
                      <a:pt x="207405" y="113834"/>
                    </a:lnTo>
                    <a:lnTo>
                      <a:pt x="207405" y="68300"/>
                    </a:lnTo>
                    <a:lnTo>
                      <a:pt x="275705" y="68300"/>
                    </a:lnTo>
                    <a:lnTo>
                      <a:pt x="275705" y="45533"/>
                    </a:lnTo>
                    <a:lnTo>
                      <a:pt x="161872" y="45533"/>
                    </a:lnTo>
                    <a:lnTo>
                      <a:pt x="161872" y="22767"/>
                    </a:lnTo>
                    <a:lnTo>
                      <a:pt x="366772" y="22767"/>
                    </a:lnTo>
                    <a:lnTo>
                      <a:pt x="366772" y="45533"/>
                    </a:lnTo>
                    <a:lnTo>
                      <a:pt x="321239" y="45533"/>
                    </a:lnTo>
                    <a:lnTo>
                      <a:pt x="321239" y="196249"/>
                    </a:lnTo>
                    <a:lnTo>
                      <a:pt x="500868" y="555509"/>
                    </a:lnTo>
                    <a:lnTo>
                      <a:pt x="487208" y="569169"/>
                    </a:lnTo>
                    <a:lnTo>
                      <a:pt x="450099" y="569169"/>
                    </a:lnTo>
                    <a:lnTo>
                      <a:pt x="459433" y="591935"/>
                    </a:lnTo>
                    <a:lnTo>
                      <a:pt x="496770" y="591935"/>
                    </a:lnTo>
                    <a:lnTo>
                      <a:pt x="528644" y="560062"/>
                    </a:lnTo>
                    <a:lnTo>
                      <a:pt x="344006" y="190785"/>
                    </a:ln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93" name="Freeform 65">
                <a:extLst>
                  <a:ext uri="{FF2B5EF4-FFF2-40B4-BE49-F238E27FC236}">
                    <a16:creationId xmlns:a16="http://schemas.microsoft.com/office/drawing/2014/main" id="{52C204A8-B5AC-830B-C55F-25F6172E2B56}"/>
                  </a:ext>
                </a:extLst>
              </p:cNvPr>
              <p:cNvSpPr/>
              <p:nvPr/>
            </p:nvSpPr>
            <p:spPr>
              <a:xfrm>
                <a:off x="5043775" y="1958420"/>
                <a:ext cx="312815" cy="227667"/>
              </a:xfrm>
              <a:custGeom>
                <a:avLst/>
                <a:gdLst>
                  <a:gd name="connsiteX0" fmla="*/ 103816 w 312815"/>
                  <a:gd name="connsiteY0" fmla="*/ 0 h 227667"/>
                  <a:gd name="connsiteX1" fmla="*/ 0 w 312815"/>
                  <a:gd name="connsiteY1" fmla="*/ 207860 h 227667"/>
                  <a:gd name="connsiteX2" fmla="*/ 19807 w 312815"/>
                  <a:gd name="connsiteY2" fmla="*/ 227667 h 227667"/>
                  <a:gd name="connsiteX3" fmla="*/ 76724 w 312815"/>
                  <a:gd name="connsiteY3" fmla="*/ 227667 h 227667"/>
                  <a:gd name="connsiteX4" fmla="*/ 115883 w 312815"/>
                  <a:gd name="connsiteY4" fmla="*/ 216056 h 227667"/>
                  <a:gd name="connsiteX5" fmla="*/ 156408 w 312815"/>
                  <a:gd name="connsiteY5" fmla="*/ 204901 h 227667"/>
                  <a:gd name="connsiteX6" fmla="*/ 196932 w 312815"/>
                  <a:gd name="connsiteY6" fmla="*/ 216056 h 227667"/>
                  <a:gd name="connsiteX7" fmla="*/ 236091 w 312815"/>
                  <a:gd name="connsiteY7" fmla="*/ 227667 h 227667"/>
                  <a:gd name="connsiteX8" fmla="*/ 293008 w 312815"/>
                  <a:gd name="connsiteY8" fmla="*/ 227667 h 227667"/>
                  <a:gd name="connsiteX9" fmla="*/ 312815 w 312815"/>
                  <a:gd name="connsiteY9" fmla="*/ 207860 h 227667"/>
                  <a:gd name="connsiteX10" fmla="*/ 208999 w 312815"/>
                  <a:gd name="connsiteY10" fmla="*/ 0 h 227667"/>
                  <a:gd name="connsiteX11" fmla="*/ 103816 w 312815"/>
                  <a:gd name="connsiteY11" fmla="*/ 0 h 227667"/>
                  <a:gd name="connsiteX12" fmla="*/ 236091 w 312815"/>
                  <a:gd name="connsiteY12" fmla="*/ 204901 h 227667"/>
                  <a:gd name="connsiteX13" fmla="*/ 208316 w 312815"/>
                  <a:gd name="connsiteY13" fmla="*/ 196249 h 227667"/>
                  <a:gd name="connsiteX14" fmla="*/ 156408 w 312815"/>
                  <a:gd name="connsiteY14" fmla="*/ 182134 h 227667"/>
                  <a:gd name="connsiteX15" fmla="*/ 104499 w 312815"/>
                  <a:gd name="connsiteY15" fmla="*/ 196249 h 227667"/>
                  <a:gd name="connsiteX16" fmla="*/ 76724 w 312815"/>
                  <a:gd name="connsiteY16" fmla="*/ 204901 h 227667"/>
                  <a:gd name="connsiteX17" fmla="*/ 26865 w 312815"/>
                  <a:gd name="connsiteY17" fmla="*/ 204901 h 227667"/>
                  <a:gd name="connsiteX18" fmla="*/ 117932 w 312815"/>
                  <a:gd name="connsiteY18" fmla="*/ 22767 h 227667"/>
                  <a:gd name="connsiteX19" fmla="*/ 194883 w 312815"/>
                  <a:gd name="connsiteY19" fmla="*/ 22767 h 227667"/>
                  <a:gd name="connsiteX20" fmla="*/ 285950 w 312815"/>
                  <a:gd name="connsiteY20" fmla="*/ 204901 h 227667"/>
                  <a:gd name="connsiteX21" fmla="*/ 236091 w 312815"/>
                  <a:gd name="connsiteY21" fmla="*/ 204901 h 227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12815" h="227667">
                    <a:moveTo>
                      <a:pt x="103816" y="0"/>
                    </a:moveTo>
                    <a:lnTo>
                      <a:pt x="0" y="207860"/>
                    </a:lnTo>
                    <a:lnTo>
                      <a:pt x="19807" y="227667"/>
                    </a:lnTo>
                    <a:lnTo>
                      <a:pt x="76724" y="227667"/>
                    </a:lnTo>
                    <a:cubicBezTo>
                      <a:pt x="95620" y="227667"/>
                      <a:pt x="106321" y="221520"/>
                      <a:pt x="115883" y="216056"/>
                    </a:cubicBezTo>
                    <a:cubicBezTo>
                      <a:pt x="125672" y="210365"/>
                      <a:pt x="135007" y="204901"/>
                      <a:pt x="156408" y="204901"/>
                    </a:cubicBezTo>
                    <a:cubicBezTo>
                      <a:pt x="177808" y="204901"/>
                      <a:pt x="187143" y="210365"/>
                      <a:pt x="196932" y="216056"/>
                    </a:cubicBezTo>
                    <a:cubicBezTo>
                      <a:pt x="206494" y="221520"/>
                      <a:pt x="217195" y="227667"/>
                      <a:pt x="236091" y="227667"/>
                    </a:cubicBezTo>
                    <a:lnTo>
                      <a:pt x="293008" y="227667"/>
                    </a:lnTo>
                    <a:lnTo>
                      <a:pt x="312815" y="207860"/>
                    </a:lnTo>
                    <a:lnTo>
                      <a:pt x="208999" y="0"/>
                    </a:lnTo>
                    <a:lnTo>
                      <a:pt x="103816" y="0"/>
                    </a:lnTo>
                    <a:close/>
                    <a:moveTo>
                      <a:pt x="236091" y="204901"/>
                    </a:moveTo>
                    <a:cubicBezTo>
                      <a:pt x="223342" y="204901"/>
                      <a:pt x="216967" y="201258"/>
                      <a:pt x="208316" y="196249"/>
                    </a:cubicBezTo>
                    <a:cubicBezTo>
                      <a:pt x="197388" y="189875"/>
                      <a:pt x="183728" y="182134"/>
                      <a:pt x="156408" y="182134"/>
                    </a:cubicBezTo>
                    <a:cubicBezTo>
                      <a:pt x="129087" y="182134"/>
                      <a:pt x="115427" y="189875"/>
                      <a:pt x="104499" y="196249"/>
                    </a:cubicBezTo>
                    <a:cubicBezTo>
                      <a:pt x="95848" y="201258"/>
                      <a:pt x="89473" y="204901"/>
                      <a:pt x="76724" y="204901"/>
                    </a:cubicBezTo>
                    <a:lnTo>
                      <a:pt x="26865" y="204901"/>
                    </a:lnTo>
                    <a:lnTo>
                      <a:pt x="117932" y="22767"/>
                    </a:lnTo>
                    <a:lnTo>
                      <a:pt x="194883" y="22767"/>
                    </a:lnTo>
                    <a:lnTo>
                      <a:pt x="285950" y="204901"/>
                    </a:lnTo>
                    <a:lnTo>
                      <a:pt x="236091" y="204901"/>
                    </a:ln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</p:grpSp>
      </p:grpSp>
      <p:sp>
        <p:nvSpPr>
          <p:cNvPr id="94" name="TextBox 61">
            <a:extLst>
              <a:ext uri="{FF2B5EF4-FFF2-40B4-BE49-F238E27FC236}">
                <a16:creationId xmlns:a16="http://schemas.microsoft.com/office/drawing/2014/main" id="{FE95E4B3-7219-DB01-B2C7-3AC0A3360575}"/>
              </a:ext>
            </a:extLst>
          </p:cNvPr>
          <p:cNvSpPr txBox="1"/>
          <p:nvPr/>
        </p:nvSpPr>
        <p:spPr>
          <a:xfrm>
            <a:off x="6647972" y="6047264"/>
            <a:ext cx="928139" cy="35907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  <a:t>Accenture</a:t>
            </a:r>
            <a:br>
              <a:rPr kumimoji="0" lang="pt-BR" sz="140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</a:br>
            <a:r>
              <a:rPr kumimoji="0" lang="pt-BR" sz="1400" i="0" u="none" strike="noStrike" kern="1200" cap="none" spc="0" normalizeH="0" baseline="0" noProof="0" err="1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  <a:t>Studios</a:t>
            </a:r>
            <a:endParaRPr kumimoji="0" lang="pt-BR" sz="1400" i="0" u="none" strike="noStrike" kern="0" cap="none" spc="0" normalizeH="0" baseline="0" noProof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Graphik Medium" panose="020B0603030202060203" pitchFamily="34" charset="0"/>
              <a:cs typeface="Arial"/>
            </a:endParaRP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1FABBCE5-0A8A-F397-D803-861BBB8568D4}"/>
              </a:ext>
            </a:extLst>
          </p:cNvPr>
          <p:cNvGrpSpPr/>
          <p:nvPr/>
        </p:nvGrpSpPr>
        <p:grpSpPr>
          <a:xfrm>
            <a:off x="6845798" y="5401677"/>
            <a:ext cx="532489" cy="532489"/>
            <a:chOff x="6845798" y="5193340"/>
            <a:chExt cx="532489" cy="532489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4D04920D-B33C-AA85-8748-C20868E77F66}"/>
                </a:ext>
              </a:extLst>
            </p:cNvPr>
            <p:cNvSpPr/>
            <p:nvPr/>
          </p:nvSpPr>
          <p:spPr>
            <a:xfrm>
              <a:off x="6845798" y="5193340"/>
              <a:ext cx="532489" cy="53248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grpSp>
          <p:nvGrpSpPr>
            <p:cNvPr id="97" name="Graphic 26">
              <a:extLst>
                <a:ext uri="{FF2B5EF4-FFF2-40B4-BE49-F238E27FC236}">
                  <a16:creationId xmlns:a16="http://schemas.microsoft.com/office/drawing/2014/main" id="{241E6D54-C972-8E8C-1B08-8AB761BB2037}"/>
                </a:ext>
              </a:extLst>
            </p:cNvPr>
            <p:cNvGrpSpPr/>
            <p:nvPr/>
          </p:nvGrpSpPr>
          <p:grpSpPr>
            <a:xfrm>
              <a:off x="6989430" y="5301865"/>
              <a:ext cx="245224" cy="315439"/>
              <a:chOff x="6830644" y="1660176"/>
              <a:chExt cx="477873" cy="614702"/>
            </a:xfrm>
            <a:solidFill>
              <a:schemeClr val="accent1"/>
            </a:solidFill>
          </p:grpSpPr>
          <p:sp>
            <p:nvSpPr>
              <p:cNvPr id="98" name="Freeform 71">
                <a:extLst>
                  <a:ext uri="{FF2B5EF4-FFF2-40B4-BE49-F238E27FC236}">
                    <a16:creationId xmlns:a16="http://schemas.microsoft.com/office/drawing/2014/main" id="{0ACFB0F3-CEE1-FBE7-6B05-DCEBBD89AB09}"/>
                  </a:ext>
                </a:extLst>
              </p:cNvPr>
              <p:cNvSpPr/>
              <p:nvPr/>
            </p:nvSpPr>
            <p:spPr>
              <a:xfrm>
                <a:off x="6830644" y="1660176"/>
                <a:ext cx="477873" cy="614702"/>
              </a:xfrm>
              <a:custGeom>
                <a:avLst/>
                <a:gdLst>
                  <a:gd name="connsiteX0" fmla="*/ 361536 w 477873"/>
                  <a:gd name="connsiteY0" fmla="*/ 94937 h 614702"/>
                  <a:gd name="connsiteX1" fmla="*/ 258858 w 477873"/>
                  <a:gd name="connsiteY1" fmla="*/ 0 h 614702"/>
                  <a:gd name="connsiteX2" fmla="*/ 219244 w 477873"/>
                  <a:gd name="connsiteY2" fmla="*/ 0 h 614702"/>
                  <a:gd name="connsiteX3" fmla="*/ 116566 w 477873"/>
                  <a:gd name="connsiteY3" fmla="*/ 94937 h 614702"/>
                  <a:gd name="connsiteX4" fmla="*/ 0 w 477873"/>
                  <a:gd name="connsiteY4" fmla="*/ 375651 h 614702"/>
                  <a:gd name="connsiteX5" fmla="*/ 239051 w 477873"/>
                  <a:gd name="connsiteY5" fmla="*/ 614702 h 614702"/>
                  <a:gd name="connsiteX6" fmla="*/ 239051 w 477873"/>
                  <a:gd name="connsiteY6" fmla="*/ 591935 h 614702"/>
                  <a:gd name="connsiteX7" fmla="*/ 22767 w 477873"/>
                  <a:gd name="connsiteY7" fmla="*/ 375651 h 614702"/>
                  <a:gd name="connsiteX8" fmla="*/ 133413 w 477873"/>
                  <a:gd name="connsiteY8" fmla="*/ 110419 h 614702"/>
                  <a:gd name="connsiteX9" fmla="*/ 239051 w 477873"/>
                  <a:gd name="connsiteY9" fmla="*/ 13888 h 614702"/>
                  <a:gd name="connsiteX10" fmla="*/ 344233 w 477873"/>
                  <a:gd name="connsiteY10" fmla="*/ 109963 h 614702"/>
                  <a:gd name="connsiteX11" fmla="*/ 455107 w 477873"/>
                  <a:gd name="connsiteY11" fmla="*/ 364268 h 614702"/>
                  <a:gd name="connsiteX12" fmla="*/ 477874 w 477873"/>
                  <a:gd name="connsiteY12" fmla="*/ 364268 h 614702"/>
                  <a:gd name="connsiteX13" fmla="*/ 361536 w 477873"/>
                  <a:gd name="connsiteY13" fmla="*/ 94937 h 614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77873" h="614702">
                    <a:moveTo>
                      <a:pt x="361536" y="94937"/>
                    </a:moveTo>
                    <a:cubicBezTo>
                      <a:pt x="320328" y="47583"/>
                      <a:pt x="279576" y="15026"/>
                      <a:pt x="258858" y="0"/>
                    </a:cubicBezTo>
                    <a:lnTo>
                      <a:pt x="219244" y="0"/>
                    </a:lnTo>
                    <a:cubicBezTo>
                      <a:pt x="198754" y="15026"/>
                      <a:pt x="157774" y="47583"/>
                      <a:pt x="116566" y="94937"/>
                    </a:cubicBezTo>
                    <a:cubicBezTo>
                      <a:pt x="40297" y="182817"/>
                      <a:pt x="0" y="279803"/>
                      <a:pt x="0" y="375651"/>
                    </a:cubicBezTo>
                    <a:cubicBezTo>
                      <a:pt x="0" y="507471"/>
                      <a:pt x="107231" y="614702"/>
                      <a:pt x="239051" y="614702"/>
                    </a:cubicBezTo>
                    <a:lnTo>
                      <a:pt x="239051" y="591935"/>
                    </a:lnTo>
                    <a:cubicBezTo>
                      <a:pt x="119753" y="591935"/>
                      <a:pt x="22767" y="494949"/>
                      <a:pt x="22767" y="375651"/>
                    </a:cubicBezTo>
                    <a:cubicBezTo>
                      <a:pt x="22767" y="261818"/>
                      <a:pt x="82871" y="168474"/>
                      <a:pt x="133413" y="110419"/>
                    </a:cubicBezTo>
                    <a:cubicBezTo>
                      <a:pt x="177808" y="59194"/>
                      <a:pt x="222886" y="25271"/>
                      <a:pt x="239051" y="13888"/>
                    </a:cubicBezTo>
                    <a:cubicBezTo>
                      <a:pt x="255215" y="25271"/>
                      <a:pt x="299838" y="58966"/>
                      <a:pt x="344233" y="109963"/>
                    </a:cubicBezTo>
                    <a:cubicBezTo>
                      <a:pt x="393182" y="166197"/>
                      <a:pt x="451237" y="255443"/>
                      <a:pt x="455107" y="364268"/>
                    </a:cubicBezTo>
                    <a:lnTo>
                      <a:pt x="477874" y="364268"/>
                    </a:lnTo>
                    <a:cubicBezTo>
                      <a:pt x="474914" y="272063"/>
                      <a:pt x="434845" y="179174"/>
                      <a:pt x="361536" y="94937"/>
                    </a:cubicBezTo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99" name="Freeform 72">
                <a:extLst>
                  <a:ext uri="{FF2B5EF4-FFF2-40B4-BE49-F238E27FC236}">
                    <a16:creationId xmlns:a16="http://schemas.microsoft.com/office/drawing/2014/main" id="{41A8B9FA-0962-F92D-5D36-CB5D65354A8A}"/>
                  </a:ext>
                </a:extLst>
              </p:cNvPr>
              <p:cNvSpPr/>
              <p:nvPr/>
            </p:nvSpPr>
            <p:spPr>
              <a:xfrm>
                <a:off x="6898945" y="2001677"/>
                <a:ext cx="341501" cy="204900"/>
              </a:xfrm>
              <a:custGeom>
                <a:avLst/>
                <a:gdLst>
                  <a:gd name="connsiteX0" fmla="*/ 307351 w 341501"/>
                  <a:gd name="connsiteY0" fmla="*/ 0 h 204900"/>
                  <a:gd name="connsiteX1" fmla="*/ 276616 w 341501"/>
                  <a:gd name="connsiteY1" fmla="*/ 14798 h 204900"/>
                  <a:gd name="connsiteX2" fmla="*/ 261818 w 341501"/>
                  <a:gd name="connsiteY2" fmla="*/ 22767 h 204900"/>
                  <a:gd name="connsiteX3" fmla="*/ 247019 w 341501"/>
                  <a:gd name="connsiteY3" fmla="*/ 14798 h 204900"/>
                  <a:gd name="connsiteX4" fmla="*/ 216284 w 341501"/>
                  <a:gd name="connsiteY4" fmla="*/ 0 h 204900"/>
                  <a:gd name="connsiteX5" fmla="*/ 185549 w 341501"/>
                  <a:gd name="connsiteY5" fmla="*/ 14798 h 204900"/>
                  <a:gd name="connsiteX6" fmla="*/ 170751 w 341501"/>
                  <a:gd name="connsiteY6" fmla="*/ 22767 h 204900"/>
                  <a:gd name="connsiteX7" fmla="*/ 155952 w 341501"/>
                  <a:gd name="connsiteY7" fmla="*/ 14798 h 204900"/>
                  <a:gd name="connsiteX8" fmla="*/ 125217 w 341501"/>
                  <a:gd name="connsiteY8" fmla="*/ 0 h 204900"/>
                  <a:gd name="connsiteX9" fmla="*/ 94482 w 341501"/>
                  <a:gd name="connsiteY9" fmla="*/ 14798 h 204900"/>
                  <a:gd name="connsiteX10" fmla="*/ 79684 w 341501"/>
                  <a:gd name="connsiteY10" fmla="*/ 22767 h 204900"/>
                  <a:gd name="connsiteX11" fmla="*/ 64885 w 341501"/>
                  <a:gd name="connsiteY11" fmla="*/ 14798 h 204900"/>
                  <a:gd name="connsiteX12" fmla="*/ 34150 w 341501"/>
                  <a:gd name="connsiteY12" fmla="*/ 0 h 204900"/>
                  <a:gd name="connsiteX13" fmla="*/ 22767 w 341501"/>
                  <a:gd name="connsiteY13" fmla="*/ 0 h 204900"/>
                  <a:gd name="connsiteX14" fmla="*/ 0 w 341501"/>
                  <a:gd name="connsiteY14" fmla="*/ 22767 h 204900"/>
                  <a:gd name="connsiteX15" fmla="*/ 0 w 341501"/>
                  <a:gd name="connsiteY15" fmla="*/ 34150 h 204900"/>
                  <a:gd name="connsiteX16" fmla="*/ 170751 w 341501"/>
                  <a:gd name="connsiteY16" fmla="*/ 204901 h 204900"/>
                  <a:gd name="connsiteX17" fmla="*/ 341501 w 341501"/>
                  <a:gd name="connsiteY17" fmla="*/ 34150 h 204900"/>
                  <a:gd name="connsiteX18" fmla="*/ 341501 w 341501"/>
                  <a:gd name="connsiteY18" fmla="*/ 22767 h 204900"/>
                  <a:gd name="connsiteX19" fmla="*/ 318734 w 341501"/>
                  <a:gd name="connsiteY19" fmla="*/ 0 h 204900"/>
                  <a:gd name="connsiteX20" fmla="*/ 307351 w 341501"/>
                  <a:gd name="connsiteY20" fmla="*/ 0 h 204900"/>
                  <a:gd name="connsiteX21" fmla="*/ 318734 w 341501"/>
                  <a:gd name="connsiteY21" fmla="*/ 34150 h 204900"/>
                  <a:gd name="connsiteX22" fmla="*/ 170751 w 341501"/>
                  <a:gd name="connsiteY22" fmla="*/ 182134 h 204900"/>
                  <a:gd name="connsiteX23" fmla="*/ 22767 w 341501"/>
                  <a:gd name="connsiteY23" fmla="*/ 34150 h 204900"/>
                  <a:gd name="connsiteX24" fmla="*/ 22767 w 341501"/>
                  <a:gd name="connsiteY24" fmla="*/ 22767 h 204900"/>
                  <a:gd name="connsiteX25" fmla="*/ 34150 w 341501"/>
                  <a:gd name="connsiteY25" fmla="*/ 22767 h 204900"/>
                  <a:gd name="connsiteX26" fmla="*/ 48949 w 341501"/>
                  <a:gd name="connsiteY26" fmla="*/ 30735 h 204900"/>
                  <a:gd name="connsiteX27" fmla="*/ 79684 w 341501"/>
                  <a:gd name="connsiteY27" fmla="*/ 45533 h 204900"/>
                  <a:gd name="connsiteX28" fmla="*/ 110419 w 341501"/>
                  <a:gd name="connsiteY28" fmla="*/ 30735 h 204900"/>
                  <a:gd name="connsiteX29" fmla="*/ 125217 w 341501"/>
                  <a:gd name="connsiteY29" fmla="*/ 22767 h 204900"/>
                  <a:gd name="connsiteX30" fmla="*/ 140015 w 341501"/>
                  <a:gd name="connsiteY30" fmla="*/ 30735 h 204900"/>
                  <a:gd name="connsiteX31" fmla="*/ 170751 w 341501"/>
                  <a:gd name="connsiteY31" fmla="*/ 45533 h 204900"/>
                  <a:gd name="connsiteX32" fmla="*/ 201486 w 341501"/>
                  <a:gd name="connsiteY32" fmla="*/ 30735 h 204900"/>
                  <a:gd name="connsiteX33" fmla="*/ 216284 w 341501"/>
                  <a:gd name="connsiteY33" fmla="*/ 22767 h 204900"/>
                  <a:gd name="connsiteX34" fmla="*/ 231082 w 341501"/>
                  <a:gd name="connsiteY34" fmla="*/ 30735 h 204900"/>
                  <a:gd name="connsiteX35" fmla="*/ 261818 w 341501"/>
                  <a:gd name="connsiteY35" fmla="*/ 45533 h 204900"/>
                  <a:gd name="connsiteX36" fmla="*/ 292553 w 341501"/>
                  <a:gd name="connsiteY36" fmla="*/ 30735 h 204900"/>
                  <a:gd name="connsiteX37" fmla="*/ 307351 w 341501"/>
                  <a:gd name="connsiteY37" fmla="*/ 22767 h 204900"/>
                  <a:gd name="connsiteX38" fmla="*/ 318734 w 341501"/>
                  <a:gd name="connsiteY38" fmla="*/ 22767 h 204900"/>
                  <a:gd name="connsiteX39" fmla="*/ 318734 w 341501"/>
                  <a:gd name="connsiteY39" fmla="*/ 34150 h 204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341501" h="204900">
                    <a:moveTo>
                      <a:pt x="307351" y="0"/>
                    </a:moveTo>
                    <a:cubicBezTo>
                      <a:pt x="291187" y="0"/>
                      <a:pt x="282763" y="8424"/>
                      <a:pt x="276616" y="14798"/>
                    </a:cubicBezTo>
                    <a:cubicBezTo>
                      <a:pt x="270924" y="20490"/>
                      <a:pt x="268192" y="22767"/>
                      <a:pt x="261818" y="22767"/>
                    </a:cubicBezTo>
                    <a:cubicBezTo>
                      <a:pt x="255443" y="22767"/>
                      <a:pt x="252711" y="20262"/>
                      <a:pt x="247019" y="14798"/>
                    </a:cubicBezTo>
                    <a:cubicBezTo>
                      <a:pt x="240872" y="8651"/>
                      <a:pt x="232221" y="0"/>
                      <a:pt x="216284" y="0"/>
                    </a:cubicBezTo>
                    <a:cubicBezTo>
                      <a:pt x="200347" y="0"/>
                      <a:pt x="191696" y="8424"/>
                      <a:pt x="185549" y="14798"/>
                    </a:cubicBezTo>
                    <a:cubicBezTo>
                      <a:pt x="179857" y="20490"/>
                      <a:pt x="177125" y="22767"/>
                      <a:pt x="170751" y="22767"/>
                    </a:cubicBezTo>
                    <a:cubicBezTo>
                      <a:pt x="164376" y="22767"/>
                      <a:pt x="161644" y="20262"/>
                      <a:pt x="155952" y="14798"/>
                    </a:cubicBezTo>
                    <a:cubicBezTo>
                      <a:pt x="149805" y="8651"/>
                      <a:pt x="141154" y="0"/>
                      <a:pt x="125217" y="0"/>
                    </a:cubicBezTo>
                    <a:cubicBezTo>
                      <a:pt x="109280" y="0"/>
                      <a:pt x="100629" y="8424"/>
                      <a:pt x="94482" y="14798"/>
                    </a:cubicBezTo>
                    <a:cubicBezTo>
                      <a:pt x="88790" y="20490"/>
                      <a:pt x="86058" y="22767"/>
                      <a:pt x="79684" y="22767"/>
                    </a:cubicBezTo>
                    <a:cubicBezTo>
                      <a:pt x="73309" y="22767"/>
                      <a:pt x="70577" y="20262"/>
                      <a:pt x="64885" y="14798"/>
                    </a:cubicBezTo>
                    <a:cubicBezTo>
                      <a:pt x="58738" y="8651"/>
                      <a:pt x="50087" y="0"/>
                      <a:pt x="34150" y="0"/>
                    </a:cubicBezTo>
                    <a:lnTo>
                      <a:pt x="22767" y="0"/>
                    </a:lnTo>
                    <a:lnTo>
                      <a:pt x="0" y="22767"/>
                    </a:lnTo>
                    <a:lnTo>
                      <a:pt x="0" y="34150"/>
                    </a:lnTo>
                    <a:cubicBezTo>
                      <a:pt x="0" y="128404"/>
                      <a:pt x="76496" y="204901"/>
                      <a:pt x="170751" y="204901"/>
                    </a:cubicBezTo>
                    <a:cubicBezTo>
                      <a:pt x="265005" y="204901"/>
                      <a:pt x="341501" y="128404"/>
                      <a:pt x="341501" y="34150"/>
                    </a:cubicBezTo>
                    <a:lnTo>
                      <a:pt x="341501" y="22767"/>
                    </a:lnTo>
                    <a:lnTo>
                      <a:pt x="318734" y="0"/>
                    </a:lnTo>
                    <a:lnTo>
                      <a:pt x="307351" y="0"/>
                    </a:lnTo>
                    <a:close/>
                    <a:moveTo>
                      <a:pt x="318734" y="34150"/>
                    </a:moveTo>
                    <a:cubicBezTo>
                      <a:pt x="318734" y="115655"/>
                      <a:pt x="252256" y="182134"/>
                      <a:pt x="170751" y="182134"/>
                    </a:cubicBezTo>
                    <a:cubicBezTo>
                      <a:pt x="89246" y="182134"/>
                      <a:pt x="22767" y="115655"/>
                      <a:pt x="22767" y="34150"/>
                    </a:cubicBezTo>
                    <a:lnTo>
                      <a:pt x="22767" y="22767"/>
                    </a:lnTo>
                    <a:lnTo>
                      <a:pt x="34150" y="22767"/>
                    </a:lnTo>
                    <a:cubicBezTo>
                      <a:pt x="40525" y="22767"/>
                      <a:pt x="43257" y="25271"/>
                      <a:pt x="48949" y="30735"/>
                    </a:cubicBezTo>
                    <a:cubicBezTo>
                      <a:pt x="55096" y="36882"/>
                      <a:pt x="63747" y="45533"/>
                      <a:pt x="79684" y="45533"/>
                    </a:cubicBezTo>
                    <a:cubicBezTo>
                      <a:pt x="95620" y="45533"/>
                      <a:pt x="104272" y="37110"/>
                      <a:pt x="110419" y="30735"/>
                    </a:cubicBezTo>
                    <a:cubicBezTo>
                      <a:pt x="116110" y="25043"/>
                      <a:pt x="118842" y="22767"/>
                      <a:pt x="125217" y="22767"/>
                    </a:cubicBezTo>
                    <a:cubicBezTo>
                      <a:pt x="131592" y="22767"/>
                      <a:pt x="134324" y="25271"/>
                      <a:pt x="140015" y="30735"/>
                    </a:cubicBezTo>
                    <a:cubicBezTo>
                      <a:pt x="146162" y="36882"/>
                      <a:pt x="154814" y="45533"/>
                      <a:pt x="170751" y="45533"/>
                    </a:cubicBezTo>
                    <a:cubicBezTo>
                      <a:pt x="186687" y="45533"/>
                      <a:pt x="195339" y="37110"/>
                      <a:pt x="201486" y="30735"/>
                    </a:cubicBezTo>
                    <a:cubicBezTo>
                      <a:pt x="207177" y="25043"/>
                      <a:pt x="209909" y="22767"/>
                      <a:pt x="216284" y="22767"/>
                    </a:cubicBezTo>
                    <a:cubicBezTo>
                      <a:pt x="222659" y="22767"/>
                      <a:pt x="225391" y="25271"/>
                      <a:pt x="231082" y="30735"/>
                    </a:cubicBezTo>
                    <a:cubicBezTo>
                      <a:pt x="237229" y="36882"/>
                      <a:pt x="245881" y="45533"/>
                      <a:pt x="261818" y="45533"/>
                    </a:cubicBezTo>
                    <a:cubicBezTo>
                      <a:pt x="277982" y="45533"/>
                      <a:pt x="286406" y="37110"/>
                      <a:pt x="292553" y="30735"/>
                    </a:cubicBezTo>
                    <a:cubicBezTo>
                      <a:pt x="298244" y="25043"/>
                      <a:pt x="300976" y="22767"/>
                      <a:pt x="307351" y="22767"/>
                    </a:cubicBezTo>
                    <a:lnTo>
                      <a:pt x="318734" y="22767"/>
                    </a:lnTo>
                    <a:lnTo>
                      <a:pt x="318734" y="34150"/>
                    </a:ln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0" name="TextBox 61">
            <a:extLst>
              <a:ext uri="{FF2B5EF4-FFF2-40B4-BE49-F238E27FC236}">
                <a16:creationId xmlns:a16="http://schemas.microsoft.com/office/drawing/2014/main" id="{45C35D09-8BFA-6774-59B9-11DDC230BBD3}"/>
              </a:ext>
            </a:extLst>
          </p:cNvPr>
          <p:cNvSpPr txBox="1"/>
          <p:nvPr/>
        </p:nvSpPr>
        <p:spPr>
          <a:xfrm>
            <a:off x="8511854" y="6047264"/>
            <a:ext cx="1242327" cy="35907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i="0" u="none" strike="noStrike" kern="1200" cap="none" spc="0" normalizeH="0" baseline="0" noProof="0" err="1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  <a:t>Innovation</a:t>
            </a:r>
            <a:br>
              <a:rPr kumimoji="0" lang="pt-BR" sz="140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</a:br>
            <a:r>
              <a:rPr kumimoji="0" lang="pt-BR" sz="140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  <a:t>Centers/Hubs</a:t>
            </a:r>
            <a:endParaRPr kumimoji="0" lang="pt-BR" sz="1400" i="0" u="none" strike="noStrike" kern="0" cap="none" spc="0" normalizeH="0" baseline="0" noProof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Graphik Medium" panose="020B0603030202060203" pitchFamily="34" charset="0"/>
              <a:cs typeface="Arial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2151345D-E258-4D80-8A42-F5A16BAB032A}"/>
              </a:ext>
            </a:extLst>
          </p:cNvPr>
          <p:cNvGrpSpPr/>
          <p:nvPr/>
        </p:nvGrpSpPr>
        <p:grpSpPr>
          <a:xfrm>
            <a:off x="8866775" y="5401677"/>
            <a:ext cx="532489" cy="532489"/>
            <a:chOff x="8866775" y="5193340"/>
            <a:chExt cx="532489" cy="532489"/>
          </a:xfrm>
        </p:grpSpPr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5F942AC3-1F81-FCDC-E1C5-B790D72DF8FD}"/>
                </a:ext>
              </a:extLst>
            </p:cNvPr>
            <p:cNvSpPr/>
            <p:nvPr/>
          </p:nvSpPr>
          <p:spPr>
            <a:xfrm>
              <a:off x="8866775" y="5193340"/>
              <a:ext cx="532489" cy="53248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03" name="Freeform 77">
              <a:extLst>
                <a:ext uri="{FF2B5EF4-FFF2-40B4-BE49-F238E27FC236}">
                  <a16:creationId xmlns:a16="http://schemas.microsoft.com/office/drawing/2014/main" id="{AC3D59FB-C603-6095-85B9-965BF37A32B0}"/>
                </a:ext>
              </a:extLst>
            </p:cNvPr>
            <p:cNvSpPr/>
            <p:nvPr/>
          </p:nvSpPr>
          <p:spPr>
            <a:xfrm>
              <a:off x="8988605" y="5301807"/>
              <a:ext cx="288829" cy="315556"/>
            </a:xfrm>
            <a:custGeom>
              <a:avLst/>
              <a:gdLst>
                <a:gd name="connsiteX0" fmla="*/ 517743 w 562847"/>
                <a:gd name="connsiteY0" fmla="*/ 307351 h 614929"/>
                <a:gd name="connsiteX1" fmla="*/ 553942 w 562847"/>
                <a:gd name="connsiteY1" fmla="*/ 165514 h 614929"/>
                <a:gd name="connsiteX2" fmla="*/ 397762 w 562847"/>
                <a:gd name="connsiteY2" fmla="*/ 115655 h 614929"/>
                <a:gd name="connsiteX3" fmla="*/ 281424 w 562847"/>
                <a:gd name="connsiteY3" fmla="*/ 0 h 614929"/>
                <a:gd name="connsiteX4" fmla="*/ 173965 w 562847"/>
                <a:gd name="connsiteY4" fmla="*/ 94027 h 614929"/>
                <a:gd name="connsiteX5" fmla="*/ 197642 w 562847"/>
                <a:gd name="connsiteY5" fmla="*/ 97897 h 614929"/>
                <a:gd name="connsiteX6" fmla="*/ 281424 w 562847"/>
                <a:gd name="connsiteY6" fmla="*/ 22767 h 614929"/>
                <a:gd name="connsiteX7" fmla="*/ 374312 w 562847"/>
                <a:gd name="connsiteY7" fmla="*/ 119070 h 614929"/>
                <a:gd name="connsiteX8" fmla="*/ 281424 w 562847"/>
                <a:gd name="connsiteY8" fmla="*/ 145479 h 614929"/>
                <a:gd name="connsiteX9" fmla="*/ 8906 w 562847"/>
                <a:gd name="connsiteY9" fmla="*/ 165514 h 614929"/>
                <a:gd name="connsiteX10" fmla="*/ 45105 w 562847"/>
                <a:gd name="connsiteY10" fmla="*/ 307351 h 614929"/>
                <a:gd name="connsiteX11" fmla="*/ 8906 w 562847"/>
                <a:gd name="connsiteY11" fmla="*/ 449188 h 614929"/>
                <a:gd name="connsiteX12" fmla="*/ 127293 w 562847"/>
                <a:gd name="connsiteY12" fmla="*/ 501551 h 614929"/>
                <a:gd name="connsiteX13" fmla="*/ 349724 w 562847"/>
                <a:gd name="connsiteY13" fmla="*/ 438715 h 614929"/>
                <a:gd name="connsiteX14" fmla="*/ 371580 w 562847"/>
                <a:gd name="connsiteY14" fmla="*/ 426876 h 614929"/>
                <a:gd name="connsiteX15" fmla="*/ 376816 w 562847"/>
                <a:gd name="connsiteY15" fmla="*/ 397280 h 614929"/>
                <a:gd name="connsiteX16" fmla="*/ 339024 w 562847"/>
                <a:gd name="connsiteY16" fmla="*/ 418680 h 614929"/>
                <a:gd name="connsiteX17" fmla="*/ 281196 w 562847"/>
                <a:gd name="connsiteY17" fmla="*/ 445090 h 614929"/>
                <a:gd name="connsiteX18" fmla="*/ 223369 w 562847"/>
                <a:gd name="connsiteY18" fmla="*/ 418680 h 614929"/>
                <a:gd name="connsiteX19" fmla="*/ 90866 w 562847"/>
                <a:gd name="connsiteY19" fmla="*/ 323971 h 614929"/>
                <a:gd name="connsiteX20" fmla="*/ 76295 w 562847"/>
                <a:gd name="connsiteY20" fmla="*/ 341957 h 614929"/>
                <a:gd name="connsiteX21" fmla="*/ 213123 w 562847"/>
                <a:gd name="connsiteY21" fmla="*/ 438943 h 614929"/>
                <a:gd name="connsiteX22" fmla="*/ 249778 w 562847"/>
                <a:gd name="connsiteY22" fmla="*/ 456473 h 614929"/>
                <a:gd name="connsiteX23" fmla="*/ 28941 w 562847"/>
                <a:gd name="connsiteY23" fmla="*/ 438943 h 614929"/>
                <a:gd name="connsiteX24" fmla="*/ 223596 w 562847"/>
                <a:gd name="connsiteY24" fmla="*/ 196477 h 614929"/>
                <a:gd name="connsiteX25" fmla="*/ 251144 w 562847"/>
                <a:gd name="connsiteY25" fmla="*/ 183045 h 614929"/>
                <a:gd name="connsiteX26" fmla="*/ 219498 w 562847"/>
                <a:gd name="connsiteY26" fmla="*/ 173027 h 614929"/>
                <a:gd name="connsiteX27" fmla="*/ 212896 w 562847"/>
                <a:gd name="connsiteY27" fmla="*/ 176442 h 614929"/>
                <a:gd name="connsiteX28" fmla="*/ 60131 w 562847"/>
                <a:gd name="connsiteY28" fmla="*/ 289821 h 614929"/>
                <a:gd name="connsiteX29" fmla="*/ 28713 w 562847"/>
                <a:gd name="connsiteY29" fmla="*/ 176215 h 614929"/>
                <a:gd name="connsiteX30" fmla="*/ 125699 w 562847"/>
                <a:gd name="connsiteY30" fmla="*/ 136373 h 614929"/>
                <a:gd name="connsiteX31" fmla="*/ 339024 w 562847"/>
                <a:gd name="connsiteY31" fmla="*/ 196477 h 614929"/>
                <a:gd name="connsiteX32" fmla="*/ 377044 w 562847"/>
                <a:gd name="connsiteY32" fmla="*/ 217878 h 614929"/>
                <a:gd name="connsiteX33" fmla="*/ 371580 w 562847"/>
                <a:gd name="connsiteY33" fmla="*/ 188053 h 614929"/>
                <a:gd name="connsiteX34" fmla="*/ 349724 w 562847"/>
                <a:gd name="connsiteY34" fmla="*/ 176215 h 614929"/>
                <a:gd name="connsiteX35" fmla="*/ 313069 w 562847"/>
                <a:gd name="connsiteY35" fmla="*/ 158457 h 614929"/>
                <a:gd name="connsiteX36" fmla="*/ 382280 w 562847"/>
                <a:gd name="connsiteY36" fmla="*/ 141154 h 614929"/>
                <a:gd name="connsiteX37" fmla="*/ 406641 w 562847"/>
                <a:gd name="connsiteY37" fmla="*/ 307351 h 614929"/>
                <a:gd name="connsiteX38" fmla="*/ 382280 w 562847"/>
                <a:gd name="connsiteY38" fmla="*/ 473548 h 614929"/>
                <a:gd name="connsiteX39" fmla="*/ 346309 w 562847"/>
                <a:gd name="connsiteY39" fmla="*/ 465808 h 614929"/>
                <a:gd name="connsiteX40" fmla="*/ 313980 w 562847"/>
                <a:gd name="connsiteY40" fmla="*/ 480606 h 614929"/>
                <a:gd name="connsiteX41" fmla="*/ 374312 w 562847"/>
                <a:gd name="connsiteY41" fmla="*/ 495632 h 614929"/>
                <a:gd name="connsiteX42" fmla="*/ 281424 w 562847"/>
                <a:gd name="connsiteY42" fmla="*/ 591935 h 614929"/>
                <a:gd name="connsiteX43" fmla="*/ 197642 w 562847"/>
                <a:gd name="connsiteY43" fmla="*/ 517033 h 614929"/>
                <a:gd name="connsiteX44" fmla="*/ 173965 w 562847"/>
                <a:gd name="connsiteY44" fmla="*/ 520903 h 614929"/>
                <a:gd name="connsiteX45" fmla="*/ 281424 w 562847"/>
                <a:gd name="connsiteY45" fmla="*/ 614930 h 614929"/>
                <a:gd name="connsiteX46" fmla="*/ 397762 w 562847"/>
                <a:gd name="connsiteY46" fmla="*/ 499502 h 614929"/>
                <a:gd name="connsiteX47" fmla="*/ 435555 w 562847"/>
                <a:gd name="connsiteY47" fmla="*/ 501779 h 614929"/>
                <a:gd name="connsiteX48" fmla="*/ 553942 w 562847"/>
                <a:gd name="connsiteY48" fmla="*/ 449416 h 614929"/>
                <a:gd name="connsiteX49" fmla="*/ 517743 w 562847"/>
                <a:gd name="connsiteY49" fmla="*/ 307351 h 614929"/>
                <a:gd name="connsiteX50" fmla="*/ 405502 w 562847"/>
                <a:gd name="connsiteY50" fmla="*/ 137966 h 614929"/>
                <a:gd name="connsiteX51" fmla="*/ 436693 w 562847"/>
                <a:gd name="connsiteY51" fmla="*/ 136145 h 614929"/>
                <a:gd name="connsiteX52" fmla="*/ 533679 w 562847"/>
                <a:gd name="connsiteY52" fmla="*/ 175987 h 614929"/>
                <a:gd name="connsiteX53" fmla="*/ 502261 w 562847"/>
                <a:gd name="connsiteY53" fmla="*/ 289365 h 614929"/>
                <a:gd name="connsiteX54" fmla="*/ 423488 w 562847"/>
                <a:gd name="connsiteY54" fmla="*/ 220837 h 614929"/>
                <a:gd name="connsiteX55" fmla="*/ 405502 w 562847"/>
                <a:gd name="connsiteY55" fmla="*/ 137966 h 614929"/>
                <a:gd name="connsiteX56" fmla="*/ 427131 w 562847"/>
                <a:gd name="connsiteY56" fmla="*/ 252256 h 614929"/>
                <a:gd name="connsiteX57" fmla="*/ 487463 w 562847"/>
                <a:gd name="connsiteY57" fmla="*/ 307351 h 614929"/>
                <a:gd name="connsiteX58" fmla="*/ 427131 w 562847"/>
                <a:gd name="connsiteY58" fmla="*/ 362447 h 614929"/>
                <a:gd name="connsiteX59" fmla="*/ 429408 w 562847"/>
                <a:gd name="connsiteY59" fmla="*/ 307351 h 614929"/>
                <a:gd name="connsiteX60" fmla="*/ 427131 w 562847"/>
                <a:gd name="connsiteY60" fmla="*/ 252256 h 614929"/>
                <a:gd name="connsiteX61" fmla="*/ 533907 w 562847"/>
                <a:gd name="connsiteY61" fmla="*/ 438715 h 614929"/>
                <a:gd name="connsiteX62" fmla="*/ 405730 w 562847"/>
                <a:gd name="connsiteY62" fmla="*/ 476736 h 614929"/>
                <a:gd name="connsiteX63" fmla="*/ 423944 w 562847"/>
                <a:gd name="connsiteY63" fmla="*/ 393637 h 614929"/>
                <a:gd name="connsiteX64" fmla="*/ 502717 w 562847"/>
                <a:gd name="connsiteY64" fmla="*/ 325109 h 614929"/>
                <a:gd name="connsiteX65" fmla="*/ 533907 w 562847"/>
                <a:gd name="connsiteY65" fmla="*/ 438715 h 614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562847" h="614929">
                  <a:moveTo>
                    <a:pt x="517743" y="307351"/>
                  </a:moveTo>
                  <a:cubicBezTo>
                    <a:pt x="558950" y="255671"/>
                    <a:pt x="574204" y="204218"/>
                    <a:pt x="553942" y="165514"/>
                  </a:cubicBezTo>
                  <a:cubicBezTo>
                    <a:pt x="531858" y="123168"/>
                    <a:pt x="472892" y="106776"/>
                    <a:pt x="397762" y="115655"/>
                  </a:cubicBezTo>
                  <a:cubicBezTo>
                    <a:pt x="370897" y="44623"/>
                    <a:pt x="329234" y="0"/>
                    <a:pt x="281424" y="0"/>
                  </a:cubicBezTo>
                  <a:cubicBezTo>
                    <a:pt x="238622" y="0"/>
                    <a:pt x="200829" y="35744"/>
                    <a:pt x="173965" y="94027"/>
                  </a:cubicBezTo>
                  <a:lnTo>
                    <a:pt x="197642" y="97897"/>
                  </a:lnTo>
                  <a:cubicBezTo>
                    <a:pt x="220181" y="51453"/>
                    <a:pt x="249550" y="22767"/>
                    <a:pt x="281424" y="22767"/>
                  </a:cubicBezTo>
                  <a:cubicBezTo>
                    <a:pt x="317851" y="22767"/>
                    <a:pt x="351318" y="60332"/>
                    <a:pt x="374312" y="119070"/>
                  </a:cubicBezTo>
                  <a:cubicBezTo>
                    <a:pt x="344943" y="124306"/>
                    <a:pt x="313525" y="133185"/>
                    <a:pt x="281424" y="145479"/>
                  </a:cubicBezTo>
                  <a:cubicBezTo>
                    <a:pt x="154385" y="96986"/>
                    <a:pt x="41462" y="103133"/>
                    <a:pt x="8906" y="165514"/>
                  </a:cubicBezTo>
                  <a:cubicBezTo>
                    <a:pt x="-11129" y="204218"/>
                    <a:pt x="4125" y="255671"/>
                    <a:pt x="45105" y="307351"/>
                  </a:cubicBezTo>
                  <a:cubicBezTo>
                    <a:pt x="3897" y="359032"/>
                    <a:pt x="-11357" y="410484"/>
                    <a:pt x="8906" y="449188"/>
                  </a:cubicBezTo>
                  <a:cubicBezTo>
                    <a:pt x="27119" y="484249"/>
                    <a:pt x="70376" y="501551"/>
                    <a:pt x="127293" y="501551"/>
                  </a:cubicBezTo>
                  <a:cubicBezTo>
                    <a:pt x="190129" y="501551"/>
                    <a:pt x="269585" y="480378"/>
                    <a:pt x="349724" y="438715"/>
                  </a:cubicBezTo>
                  <a:cubicBezTo>
                    <a:pt x="357237" y="434845"/>
                    <a:pt x="364522" y="430974"/>
                    <a:pt x="371580" y="426876"/>
                  </a:cubicBezTo>
                  <a:lnTo>
                    <a:pt x="376816" y="397280"/>
                  </a:lnTo>
                  <a:cubicBezTo>
                    <a:pt x="364750" y="404793"/>
                    <a:pt x="352228" y="411850"/>
                    <a:pt x="339024" y="418680"/>
                  </a:cubicBezTo>
                  <a:cubicBezTo>
                    <a:pt x="319672" y="428698"/>
                    <a:pt x="300320" y="437577"/>
                    <a:pt x="281196" y="445090"/>
                  </a:cubicBezTo>
                  <a:cubicBezTo>
                    <a:pt x="262072" y="437577"/>
                    <a:pt x="242720" y="428698"/>
                    <a:pt x="223369" y="418680"/>
                  </a:cubicBezTo>
                  <a:cubicBezTo>
                    <a:pt x="170777" y="391360"/>
                    <a:pt x="125244" y="357893"/>
                    <a:pt x="90866" y="323971"/>
                  </a:cubicBezTo>
                  <a:lnTo>
                    <a:pt x="76295" y="341957"/>
                  </a:lnTo>
                  <a:cubicBezTo>
                    <a:pt x="111811" y="376790"/>
                    <a:pt x="158483" y="410484"/>
                    <a:pt x="213123" y="438943"/>
                  </a:cubicBezTo>
                  <a:cubicBezTo>
                    <a:pt x="225418" y="445318"/>
                    <a:pt x="237712" y="451237"/>
                    <a:pt x="249778" y="456473"/>
                  </a:cubicBezTo>
                  <a:cubicBezTo>
                    <a:pt x="145506" y="490623"/>
                    <a:pt x="53529" y="486070"/>
                    <a:pt x="28941" y="438943"/>
                  </a:cubicBezTo>
                  <a:cubicBezTo>
                    <a:pt x="-2478" y="378839"/>
                    <a:pt x="86768" y="267737"/>
                    <a:pt x="223596" y="196477"/>
                  </a:cubicBezTo>
                  <a:cubicBezTo>
                    <a:pt x="232703" y="191696"/>
                    <a:pt x="242037" y="187143"/>
                    <a:pt x="251144" y="183045"/>
                  </a:cubicBezTo>
                  <a:lnTo>
                    <a:pt x="219498" y="173027"/>
                  </a:lnTo>
                  <a:cubicBezTo>
                    <a:pt x="217222" y="174166"/>
                    <a:pt x="215172" y="175304"/>
                    <a:pt x="212896" y="176442"/>
                  </a:cubicBezTo>
                  <a:cubicBezTo>
                    <a:pt x="149604" y="209454"/>
                    <a:pt x="97241" y="249296"/>
                    <a:pt x="60131" y="289821"/>
                  </a:cubicBezTo>
                  <a:cubicBezTo>
                    <a:pt x="26664" y="247019"/>
                    <a:pt x="13459" y="205584"/>
                    <a:pt x="28713" y="176215"/>
                  </a:cubicBezTo>
                  <a:cubicBezTo>
                    <a:pt x="42601" y="149578"/>
                    <a:pt x="78344" y="136373"/>
                    <a:pt x="125699" y="136373"/>
                  </a:cubicBezTo>
                  <a:cubicBezTo>
                    <a:pt x="185120" y="136373"/>
                    <a:pt x="262755" y="156863"/>
                    <a:pt x="339024" y="196477"/>
                  </a:cubicBezTo>
                  <a:cubicBezTo>
                    <a:pt x="352228" y="203307"/>
                    <a:pt x="364750" y="210592"/>
                    <a:pt x="377044" y="217878"/>
                  </a:cubicBezTo>
                  <a:lnTo>
                    <a:pt x="371580" y="188053"/>
                  </a:lnTo>
                  <a:cubicBezTo>
                    <a:pt x="364522" y="183955"/>
                    <a:pt x="357009" y="180085"/>
                    <a:pt x="349724" y="176215"/>
                  </a:cubicBezTo>
                  <a:cubicBezTo>
                    <a:pt x="337430" y="169840"/>
                    <a:pt x="325364" y="163921"/>
                    <a:pt x="313069" y="158457"/>
                  </a:cubicBezTo>
                  <a:cubicBezTo>
                    <a:pt x="336975" y="150716"/>
                    <a:pt x="360197" y="144797"/>
                    <a:pt x="382280" y="141154"/>
                  </a:cubicBezTo>
                  <a:cubicBezTo>
                    <a:pt x="397534" y="188281"/>
                    <a:pt x="406641" y="245881"/>
                    <a:pt x="406641" y="307351"/>
                  </a:cubicBezTo>
                  <a:cubicBezTo>
                    <a:pt x="406641" y="368821"/>
                    <a:pt x="397534" y="426421"/>
                    <a:pt x="382280" y="473548"/>
                  </a:cubicBezTo>
                  <a:cubicBezTo>
                    <a:pt x="370669" y="471499"/>
                    <a:pt x="358603" y="468995"/>
                    <a:pt x="346309" y="465808"/>
                  </a:cubicBezTo>
                  <a:lnTo>
                    <a:pt x="313980" y="480606"/>
                  </a:lnTo>
                  <a:cubicBezTo>
                    <a:pt x="334698" y="487208"/>
                    <a:pt x="354960" y="492217"/>
                    <a:pt x="374312" y="495632"/>
                  </a:cubicBezTo>
                  <a:cubicBezTo>
                    <a:pt x="351318" y="554370"/>
                    <a:pt x="317851" y="591935"/>
                    <a:pt x="281424" y="591935"/>
                  </a:cubicBezTo>
                  <a:cubicBezTo>
                    <a:pt x="249550" y="591935"/>
                    <a:pt x="220181" y="563249"/>
                    <a:pt x="197642" y="517033"/>
                  </a:cubicBezTo>
                  <a:lnTo>
                    <a:pt x="173965" y="520903"/>
                  </a:lnTo>
                  <a:cubicBezTo>
                    <a:pt x="200829" y="579186"/>
                    <a:pt x="238622" y="614930"/>
                    <a:pt x="281424" y="614930"/>
                  </a:cubicBezTo>
                  <a:cubicBezTo>
                    <a:pt x="329234" y="614930"/>
                    <a:pt x="370897" y="570307"/>
                    <a:pt x="397762" y="499502"/>
                  </a:cubicBezTo>
                  <a:cubicBezTo>
                    <a:pt x="410966" y="501096"/>
                    <a:pt x="423488" y="501779"/>
                    <a:pt x="435555" y="501779"/>
                  </a:cubicBezTo>
                  <a:cubicBezTo>
                    <a:pt x="492471" y="501779"/>
                    <a:pt x="535728" y="484476"/>
                    <a:pt x="553942" y="449416"/>
                  </a:cubicBezTo>
                  <a:cubicBezTo>
                    <a:pt x="574204" y="410484"/>
                    <a:pt x="558950" y="359032"/>
                    <a:pt x="517743" y="307351"/>
                  </a:cubicBezTo>
                  <a:close/>
                  <a:moveTo>
                    <a:pt x="405502" y="137966"/>
                  </a:moveTo>
                  <a:cubicBezTo>
                    <a:pt x="416430" y="136828"/>
                    <a:pt x="426903" y="136145"/>
                    <a:pt x="436693" y="136145"/>
                  </a:cubicBezTo>
                  <a:cubicBezTo>
                    <a:pt x="484048" y="136145"/>
                    <a:pt x="519792" y="149122"/>
                    <a:pt x="533679" y="175987"/>
                  </a:cubicBezTo>
                  <a:cubicBezTo>
                    <a:pt x="548933" y="205356"/>
                    <a:pt x="535728" y="246564"/>
                    <a:pt x="502261" y="289365"/>
                  </a:cubicBezTo>
                  <a:cubicBezTo>
                    <a:pt x="480860" y="265916"/>
                    <a:pt x="454223" y="242694"/>
                    <a:pt x="423488" y="220837"/>
                  </a:cubicBezTo>
                  <a:cubicBezTo>
                    <a:pt x="419618" y="191013"/>
                    <a:pt x="413471" y="163238"/>
                    <a:pt x="405502" y="137966"/>
                  </a:cubicBezTo>
                  <a:close/>
                  <a:moveTo>
                    <a:pt x="427131" y="252256"/>
                  </a:moveTo>
                  <a:cubicBezTo>
                    <a:pt x="450353" y="270014"/>
                    <a:pt x="470615" y="288682"/>
                    <a:pt x="487463" y="307351"/>
                  </a:cubicBezTo>
                  <a:cubicBezTo>
                    <a:pt x="470615" y="326020"/>
                    <a:pt x="450353" y="344689"/>
                    <a:pt x="427131" y="362447"/>
                  </a:cubicBezTo>
                  <a:cubicBezTo>
                    <a:pt x="428725" y="344689"/>
                    <a:pt x="429408" y="326247"/>
                    <a:pt x="429408" y="307351"/>
                  </a:cubicBezTo>
                  <a:cubicBezTo>
                    <a:pt x="429408" y="288455"/>
                    <a:pt x="428725" y="270014"/>
                    <a:pt x="427131" y="252256"/>
                  </a:cubicBezTo>
                  <a:close/>
                  <a:moveTo>
                    <a:pt x="533907" y="438715"/>
                  </a:moveTo>
                  <a:cubicBezTo>
                    <a:pt x="517060" y="471044"/>
                    <a:pt x="468339" y="483338"/>
                    <a:pt x="405730" y="476736"/>
                  </a:cubicBezTo>
                  <a:cubicBezTo>
                    <a:pt x="413699" y="451465"/>
                    <a:pt x="419846" y="423461"/>
                    <a:pt x="423944" y="393637"/>
                  </a:cubicBezTo>
                  <a:cubicBezTo>
                    <a:pt x="454679" y="371781"/>
                    <a:pt x="481316" y="348787"/>
                    <a:pt x="502717" y="325109"/>
                  </a:cubicBezTo>
                  <a:cubicBezTo>
                    <a:pt x="535728" y="368138"/>
                    <a:pt x="549161" y="409574"/>
                    <a:pt x="533907" y="438715"/>
                  </a:cubicBezTo>
                  <a:close/>
                </a:path>
              </a:pathLst>
            </a:custGeom>
            <a:solidFill>
              <a:schemeClr val="accent1"/>
            </a:solidFill>
            <a:ln w="225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sp>
        <p:nvSpPr>
          <p:cNvPr id="104" name="TextBox 61">
            <a:extLst>
              <a:ext uri="{FF2B5EF4-FFF2-40B4-BE49-F238E27FC236}">
                <a16:creationId xmlns:a16="http://schemas.microsoft.com/office/drawing/2014/main" id="{D10168C1-571C-3AA1-50F0-2B53A520B205}"/>
              </a:ext>
            </a:extLst>
          </p:cNvPr>
          <p:cNvSpPr txBox="1"/>
          <p:nvPr/>
        </p:nvSpPr>
        <p:spPr>
          <a:xfrm>
            <a:off x="10733350" y="6047264"/>
            <a:ext cx="708527" cy="35907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  <a:t>Delivery</a:t>
            </a:r>
          </a:p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i="0" u="none" strike="noStrike" kern="1200" cap="none" spc="0" normalizeH="0" baseline="0" noProof="0">
                <a:ln>
                  <a:noFill/>
                </a:ln>
                <a:solidFill>
                  <a:srgbClr val="7500C0"/>
                </a:solidFill>
                <a:effectLst/>
                <a:uLnTx/>
                <a:uFillTx/>
                <a:latin typeface="Graphik Medium" panose="020B0603030202060203" pitchFamily="34" charset="0"/>
                <a:cs typeface="Arial Black"/>
              </a:rPr>
              <a:t>Centers</a:t>
            </a:r>
            <a:endParaRPr kumimoji="0" lang="pt-BR" sz="1400" i="0" u="none" strike="noStrike" kern="0" cap="none" spc="0" normalizeH="0" baseline="0" noProof="0">
              <a:ln>
                <a:noFill/>
              </a:ln>
              <a:solidFill>
                <a:srgbClr val="7500C0"/>
              </a:solidFill>
              <a:effectLst/>
              <a:uLnTx/>
              <a:uFillTx/>
              <a:latin typeface="Graphik Medium" panose="020B0603030202060203" pitchFamily="34" charset="0"/>
              <a:cs typeface="Arial"/>
            </a:endParaRP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98A355F-DB7B-72B4-70F2-503284498C2D}"/>
              </a:ext>
            </a:extLst>
          </p:cNvPr>
          <p:cNvGrpSpPr/>
          <p:nvPr/>
        </p:nvGrpSpPr>
        <p:grpSpPr>
          <a:xfrm>
            <a:off x="10821371" y="5401677"/>
            <a:ext cx="532489" cy="532489"/>
            <a:chOff x="10821371" y="5193340"/>
            <a:chExt cx="532489" cy="532489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7F68D7EB-E209-B101-EE1C-04C9C6CAA0C2}"/>
                </a:ext>
              </a:extLst>
            </p:cNvPr>
            <p:cNvSpPr/>
            <p:nvPr/>
          </p:nvSpPr>
          <p:spPr>
            <a:xfrm>
              <a:off x="10821371" y="5193340"/>
              <a:ext cx="532489" cy="53248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grpSp>
          <p:nvGrpSpPr>
            <p:cNvPr id="107" name="Graphic 36">
              <a:extLst>
                <a:ext uri="{FF2B5EF4-FFF2-40B4-BE49-F238E27FC236}">
                  <a16:creationId xmlns:a16="http://schemas.microsoft.com/office/drawing/2014/main" id="{FAA007B9-E931-8A53-F463-2870D6A5A1CF}"/>
                </a:ext>
              </a:extLst>
            </p:cNvPr>
            <p:cNvGrpSpPr/>
            <p:nvPr/>
          </p:nvGrpSpPr>
          <p:grpSpPr>
            <a:xfrm>
              <a:off x="10943312" y="5301863"/>
              <a:ext cx="288567" cy="315438"/>
              <a:chOff x="10573743" y="1662452"/>
              <a:chExt cx="562338" cy="614702"/>
            </a:xfrm>
            <a:solidFill>
              <a:schemeClr val="accent1"/>
            </a:solidFill>
          </p:grpSpPr>
          <p:sp>
            <p:nvSpPr>
              <p:cNvPr id="108" name="Freeform 83">
                <a:extLst>
                  <a:ext uri="{FF2B5EF4-FFF2-40B4-BE49-F238E27FC236}">
                    <a16:creationId xmlns:a16="http://schemas.microsoft.com/office/drawing/2014/main" id="{DAF62453-DF8F-7408-2376-1685E3957978}"/>
                  </a:ext>
                </a:extLst>
              </p:cNvPr>
              <p:cNvSpPr/>
              <p:nvPr/>
            </p:nvSpPr>
            <p:spPr>
              <a:xfrm>
                <a:off x="10957363" y="1662452"/>
                <a:ext cx="113833" cy="232676"/>
              </a:xfrm>
              <a:custGeom>
                <a:avLst/>
                <a:gdLst>
                  <a:gd name="connsiteX0" fmla="*/ 22767 w 113833"/>
                  <a:gd name="connsiteY0" fmla="*/ 22767 h 232676"/>
                  <a:gd name="connsiteX1" fmla="*/ 91067 w 113833"/>
                  <a:gd name="connsiteY1" fmla="*/ 22767 h 232676"/>
                  <a:gd name="connsiteX2" fmla="*/ 91067 w 113833"/>
                  <a:gd name="connsiteY2" fmla="*/ 209909 h 232676"/>
                  <a:gd name="connsiteX3" fmla="*/ 102450 w 113833"/>
                  <a:gd name="connsiteY3" fmla="*/ 221293 h 232676"/>
                  <a:gd name="connsiteX4" fmla="*/ 113834 w 113833"/>
                  <a:gd name="connsiteY4" fmla="*/ 209909 h 232676"/>
                  <a:gd name="connsiteX5" fmla="*/ 113834 w 113833"/>
                  <a:gd name="connsiteY5" fmla="*/ 0 h 232676"/>
                  <a:gd name="connsiteX6" fmla="*/ 0 w 113833"/>
                  <a:gd name="connsiteY6" fmla="*/ 0 h 232676"/>
                  <a:gd name="connsiteX7" fmla="*/ 0 w 113833"/>
                  <a:gd name="connsiteY7" fmla="*/ 232676 h 232676"/>
                  <a:gd name="connsiteX8" fmla="*/ 22767 w 113833"/>
                  <a:gd name="connsiteY8" fmla="*/ 209909 h 232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3833" h="232676">
                    <a:moveTo>
                      <a:pt x="22767" y="22767"/>
                    </a:moveTo>
                    <a:lnTo>
                      <a:pt x="91067" y="22767"/>
                    </a:lnTo>
                    <a:lnTo>
                      <a:pt x="91067" y="209909"/>
                    </a:lnTo>
                    <a:lnTo>
                      <a:pt x="102450" y="221293"/>
                    </a:lnTo>
                    <a:lnTo>
                      <a:pt x="113834" y="209909"/>
                    </a:lnTo>
                    <a:lnTo>
                      <a:pt x="113834" y="0"/>
                    </a:lnTo>
                    <a:lnTo>
                      <a:pt x="0" y="0"/>
                    </a:lnTo>
                    <a:lnTo>
                      <a:pt x="0" y="232676"/>
                    </a:lnTo>
                    <a:lnTo>
                      <a:pt x="22767" y="209909"/>
                    </a:ln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109" name="Freeform 84">
                <a:extLst>
                  <a:ext uri="{FF2B5EF4-FFF2-40B4-BE49-F238E27FC236}">
                    <a16:creationId xmlns:a16="http://schemas.microsoft.com/office/drawing/2014/main" id="{6F9C30B6-2C18-BA16-47C5-3A520867DC6B}"/>
                  </a:ext>
                </a:extLst>
              </p:cNvPr>
              <p:cNvSpPr/>
              <p:nvPr/>
            </p:nvSpPr>
            <p:spPr>
              <a:xfrm>
                <a:off x="10573743" y="1859385"/>
                <a:ext cx="562338" cy="380204"/>
              </a:xfrm>
              <a:custGeom>
                <a:avLst/>
                <a:gdLst>
                  <a:gd name="connsiteX0" fmla="*/ 486070 w 562338"/>
                  <a:gd name="connsiteY0" fmla="*/ 59877 h 380204"/>
                  <a:gd name="connsiteX1" fmla="*/ 456701 w 562338"/>
                  <a:gd name="connsiteY1" fmla="*/ 30735 h 380204"/>
                  <a:gd name="connsiteX2" fmla="*/ 424372 w 562338"/>
                  <a:gd name="connsiteY2" fmla="*/ 30735 h 380204"/>
                  <a:gd name="connsiteX3" fmla="*/ 281169 w 562338"/>
                  <a:gd name="connsiteY3" fmla="*/ 173938 h 380204"/>
                  <a:gd name="connsiteX4" fmla="*/ 251800 w 562338"/>
                  <a:gd name="connsiteY4" fmla="*/ 144569 h 380204"/>
                  <a:gd name="connsiteX5" fmla="*/ 219471 w 562338"/>
                  <a:gd name="connsiteY5" fmla="*/ 144569 h 380204"/>
                  <a:gd name="connsiteX6" fmla="*/ 0 w 562338"/>
                  <a:gd name="connsiteY6" fmla="*/ 364268 h 380204"/>
                  <a:gd name="connsiteX7" fmla="*/ 15937 w 562338"/>
                  <a:gd name="connsiteY7" fmla="*/ 380205 h 380204"/>
                  <a:gd name="connsiteX8" fmla="*/ 235636 w 562338"/>
                  <a:gd name="connsiteY8" fmla="*/ 160961 h 380204"/>
                  <a:gd name="connsiteX9" fmla="*/ 265005 w 562338"/>
                  <a:gd name="connsiteY9" fmla="*/ 190102 h 380204"/>
                  <a:gd name="connsiteX10" fmla="*/ 297334 w 562338"/>
                  <a:gd name="connsiteY10" fmla="*/ 190102 h 380204"/>
                  <a:gd name="connsiteX11" fmla="*/ 440537 w 562338"/>
                  <a:gd name="connsiteY11" fmla="*/ 46900 h 380204"/>
                  <a:gd name="connsiteX12" fmla="*/ 469906 w 562338"/>
                  <a:gd name="connsiteY12" fmla="*/ 76269 h 380204"/>
                  <a:gd name="connsiteX13" fmla="*/ 502234 w 562338"/>
                  <a:gd name="connsiteY13" fmla="*/ 76269 h 380204"/>
                  <a:gd name="connsiteX14" fmla="*/ 562339 w 562338"/>
                  <a:gd name="connsiteY14" fmla="*/ 15937 h 380204"/>
                  <a:gd name="connsiteX15" fmla="*/ 546402 w 562338"/>
                  <a:gd name="connsiteY15" fmla="*/ 0 h 38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62338" h="380204">
                    <a:moveTo>
                      <a:pt x="486070" y="59877"/>
                    </a:moveTo>
                    <a:lnTo>
                      <a:pt x="456701" y="30735"/>
                    </a:lnTo>
                    <a:lnTo>
                      <a:pt x="424372" y="30735"/>
                    </a:lnTo>
                    <a:lnTo>
                      <a:pt x="281169" y="173938"/>
                    </a:lnTo>
                    <a:lnTo>
                      <a:pt x="251800" y="144569"/>
                    </a:lnTo>
                    <a:lnTo>
                      <a:pt x="219471" y="144569"/>
                    </a:lnTo>
                    <a:lnTo>
                      <a:pt x="0" y="364268"/>
                    </a:lnTo>
                    <a:lnTo>
                      <a:pt x="15937" y="380205"/>
                    </a:lnTo>
                    <a:lnTo>
                      <a:pt x="235636" y="160961"/>
                    </a:lnTo>
                    <a:lnTo>
                      <a:pt x="265005" y="190102"/>
                    </a:lnTo>
                    <a:lnTo>
                      <a:pt x="297334" y="190102"/>
                    </a:lnTo>
                    <a:lnTo>
                      <a:pt x="440537" y="46900"/>
                    </a:lnTo>
                    <a:lnTo>
                      <a:pt x="469906" y="76269"/>
                    </a:lnTo>
                    <a:lnTo>
                      <a:pt x="502234" y="76269"/>
                    </a:lnTo>
                    <a:lnTo>
                      <a:pt x="562339" y="15937"/>
                    </a:lnTo>
                    <a:lnTo>
                      <a:pt x="546402" y="0"/>
                    </a:ln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110" name="Freeform 85">
                <a:extLst>
                  <a:ext uri="{FF2B5EF4-FFF2-40B4-BE49-F238E27FC236}">
                    <a16:creationId xmlns:a16="http://schemas.microsoft.com/office/drawing/2014/main" id="{18C6820B-5256-A63B-7928-82910682E6DE}"/>
                  </a:ext>
                </a:extLst>
              </p:cNvPr>
              <p:cNvSpPr/>
              <p:nvPr/>
            </p:nvSpPr>
            <p:spPr>
              <a:xfrm>
                <a:off x="10957363" y="1976178"/>
                <a:ext cx="22766" cy="300976"/>
              </a:xfrm>
              <a:custGeom>
                <a:avLst/>
                <a:gdLst>
                  <a:gd name="connsiteX0" fmla="*/ 0 w 22766"/>
                  <a:gd name="connsiteY0" fmla="*/ 300976 h 300976"/>
                  <a:gd name="connsiteX1" fmla="*/ 22767 w 22766"/>
                  <a:gd name="connsiteY1" fmla="*/ 300976 h 300976"/>
                  <a:gd name="connsiteX2" fmla="*/ 22767 w 22766"/>
                  <a:gd name="connsiteY2" fmla="*/ 0 h 300976"/>
                  <a:gd name="connsiteX3" fmla="*/ 0 w 22766"/>
                  <a:gd name="connsiteY3" fmla="*/ 22767 h 300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766" h="300976">
                    <a:moveTo>
                      <a:pt x="0" y="300976"/>
                    </a:moveTo>
                    <a:lnTo>
                      <a:pt x="22767" y="300976"/>
                    </a:lnTo>
                    <a:lnTo>
                      <a:pt x="22767" y="0"/>
                    </a:lnTo>
                    <a:lnTo>
                      <a:pt x="0" y="22767"/>
                    </a:ln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111" name="Freeform 86">
                <a:extLst>
                  <a:ext uri="{FF2B5EF4-FFF2-40B4-BE49-F238E27FC236}">
                    <a16:creationId xmlns:a16="http://schemas.microsoft.com/office/drawing/2014/main" id="{8C2E2845-A51C-5C98-A774-12744F1116BF}"/>
                  </a:ext>
                </a:extLst>
              </p:cNvPr>
              <p:cNvSpPr/>
              <p:nvPr/>
            </p:nvSpPr>
            <p:spPr>
              <a:xfrm>
                <a:off x="10798224" y="2055862"/>
                <a:ext cx="22766" cy="221292"/>
              </a:xfrm>
              <a:custGeom>
                <a:avLst/>
                <a:gdLst>
                  <a:gd name="connsiteX0" fmla="*/ 0 w 22766"/>
                  <a:gd name="connsiteY0" fmla="*/ 11156 h 221292"/>
                  <a:gd name="connsiteX1" fmla="*/ 0 w 22766"/>
                  <a:gd name="connsiteY1" fmla="*/ 221293 h 221292"/>
                  <a:gd name="connsiteX2" fmla="*/ 22767 w 22766"/>
                  <a:gd name="connsiteY2" fmla="*/ 221293 h 221292"/>
                  <a:gd name="connsiteX3" fmla="*/ 22767 w 22766"/>
                  <a:gd name="connsiteY3" fmla="*/ 11611 h 221292"/>
                  <a:gd name="connsiteX4" fmla="*/ 11156 w 22766"/>
                  <a:gd name="connsiteY4" fmla="*/ 0 h 22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766" h="221292">
                    <a:moveTo>
                      <a:pt x="0" y="11156"/>
                    </a:moveTo>
                    <a:lnTo>
                      <a:pt x="0" y="221293"/>
                    </a:lnTo>
                    <a:lnTo>
                      <a:pt x="22767" y="221293"/>
                    </a:lnTo>
                    <a:lnTo>
                      <a:pt x="22767" y="11611"/>
                    </a:lnTo>
                    <a:lnTo>
                      <a:pt x="11156" y="0"/>
                    </a:ln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112" name="Freeform 87">
                <a:extLst>
                  <a:ext uri="{FF2B5EF4-FFF2-40B4-BE49-F238E27FC236}">
                    <a16:creationId xmlns:a16="http://schemas.microsoft.com/office/drawing/2014/main" id="{55510EF6-17EC-B999-0D99-50D244212A54}"/>
                  </a:ext>
                </a:extLst>
              </p:cNvPr>
              <p:cNvSpPr/>
              <p:nvPr/>
            </p:nvSpPr>
            <p:spPr>
              <a:xfrm>
                <a:off x="10889291" y="2044251"/>
                <a:ext cx="22766" cy="232903"/>
              </a:xfrm>
              <a:custGeom>
                <a:avLst/>
                <a:gdLst>
                  <a:gd name="connsiteX0" fmla="*/ 0 w 22766"/>
                  <a:gd name="connsiteY0" fmla="*/ 232904 h 232903"/>
                  <a:gd name="connsiteX1" fmla="*/ 22767 w 22766"/>
                  <a:gd name="connsiteY1" fmla="*/ 232904 h 232903"/>
                  <a:gd name="connsiteX2" fmla="*/ 22767 w 22766"/>
                  <a:gd name="connsiteY2" fmla="*/ 0 h 232903"/>
                  <a:gd name="connsiteX3" fmla="*/ 0 w 22766"/>
                  <a:gd name="connsiteY3" fmla="*/ 22767 h 23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766" h="232903">
                    <a:moveTo>
                      <a:pt x="0" y="232904"/>
                    </a:moveTo>
                    <a:lnTo>
                      <a:pt x="22767" y="232904"/>
                    </a:lnTo>
                    <a:lnTo>
                      <a:pt x="22767" y="0"/>
                    </a:lnTo>
                    <a:lnTo>
                      <a:pt x="0" y="22767"/>
                    </a:ln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113" name="Freeform 88">
                <a:extLst>
                  <a:ext uri="{FF2B5EF4-FFF2-40B4-BE49-F238E27FC236}">
                    <a16:creationId xmlns:a16="http://schemas.microsoft.com/office/drawing/2014/main" id="{8721E6B2-635B-BAB9-AC5F-B19867AC783D}"/>
                  </a:ext>
                </a:extLst>
              </p:cNvPr>
              <p:cNvSpPr/>
              <p:nvPr/>
            </p:nvSpPr>
            <p:spPr>
              <a:xfrm>
                <a:off x="10638629" y="1935653"/>
                <a:ext cx="113833" cy="187142"/>
              </a:xfrm>
              <a:custGeom>
                <a:avLst/>
                <a:gdLst>
                  <a:gd name="connsiteX0" fmla="*/ 22767 w 113833"/>
                  <a:gd name="connsiteY0" fmla="*/ 22767 h 187142"/>
                  <a:gd name="connsiteX1" fmla="*/ 91067 w 113833"/>
                  <a:gd name="connsiteY1" fmla="*/ 22767 h 187142"/>
                  <a:gd name="connsiteX2" fmla="*/ 91067 w 113833"/>
                  <a:gd name="connsiteY2" fmla="*/ 96076 h 187142"/>
                  <a:gd name="connsiteX3" fmla="*/ 113834 w 113833"/>
                  <a:gd name="connsiteY3" fmla="*/ 73309 h 187142"/>
                  <a:gd name="connsiteX4" fmla="*/ 113834 w 113833"/>
                  <a:gd name="connsiteY4" fmla="*/ 0 h 187142"/>
                  <a:gd name="connsiteX5" fmla="*/ 0 w 113833"/>
                  <a:gd name="connsiteY5" fmla="*/ 0 h 187142"/>
                  <a:gd name="connsiteX6" fmla="*/ 0 w 113833"/>
                  <a:gd name="connsiteY6" fmla="*/ 187143 h 187142"/>
                  <a:gd name="connsiteX7" fmla="*/ 22767 w 113833"/>
                  <a:gd name="connsiteY7" fmla="*/ 164376 h 187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3833" h="187142">
                    <a:moveTo>
                      <a:pt x="22767" y="22767"/>
                    </a:moveTo>
                    <a:lnTo>
                      <a:pt x="91067" y="22767"/>
                    </a:lnTo>
                    <a:lnTo>
                      <a:pt x="91067" y="96076"/>
                    </a:lnTo>
                    <a:lnTo>
                      <a:pt x="113834" y="73309"/>
                    </a:lnTo>
                    <a:lnTo>
                      <a:pt x="113834" y="0"/>
                    </a:lnTo>
                    <a:lnTo>
                      <a:pt x="0" y="0"/>
                    </a:lnTo>
                    <a:lnTo>
                      <a:pt x="0" y="187143"/>
                    </a:lnTo>
                    <a:lnTo>
                      <a:pt x="22767" y="164376"/>
                    </a:ln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114" name="Freeform 89">
                <a:extLst>
                  <a:ext uri="{FF2B5EF4-FFF2-40B4-BE49-F238E27FC236}">
                    <a16:creationId xmlns:a16="http://schemas.microsoft.com/office/drawing/2014/main" id="{F4B2E118-4B56-DFC0-3025-C59B970E4BC7}"/>
                  </a:ext>
                </a:extLst>
              </p:cNvPr>
              <p:cNvSpPr/>
              <p:nvPr/>
            </p:nvSpPr>
            <p:spPr>
              <a:xfrm>
                <a:off x="10729696" y="2112779"/>
                <a:ext cx="22766" cy="164375"/>
              </a:xfrm>
              <a:custGeom>
                <a:avLst/>
                <a:gdLst>
                  <a:gd name="connsiteX0" fmla="*/ 0 w 22766"/>
                  <a:gd name="connsiteY0" fmla="*/ 164376 h 164375"/>
                  <a:gd name="connsiteX1" fmla="*/ 22767 w 22766"/>
                  <a:gd name="connsiteY1" fmla="*/ 164376 h 164375"/>
                  <a:gd name="connsiteX2" fmla="*/ 22767 w 22766"/>
                  <a:gd name="connsiteY2" fmla="*/ 0 h 164375"/>
                  <a:gd name="connsiteX3" fmla="*/ 0 w 22766"/>
                  <a:gd name="connsiteY3" fmla="*/ 22767 h 164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766" h="164375">
                    <a:moveTo>
                      <a:pt x="0" y="164376"/>
                    </a:moveTo>
                    <a:lnTo>
                      <a:pt x="22767" y="164376"/>
                    </a:lnTo>
                    <a:lnTo>
                      <a:pt x="22767" y="0"/>
                    </a:lnTo>
                    <a:lnTo>
                      <a:pt x="0" y="22767"/>
                    </a:ln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115" name="Freeform 90">
                <a:extLst>
                  <a:ext uri="{FF2B5EF4-FFF2-40B4-BE49-F238E27FC236}">
                    <a16:creationId xmlns:a16="http://schemas.microsoft.com/office/drawing/2014/main" id="{228A8581-3E72-CEFD-BAA2-D312C8BABA42}"/>
                  </a:ext>
                </a:extLst>
              </p:cNvPr>
              <p:cNvSpPr/>
              <p:nvPr/>
            </p:nvSpPr>
            <p:spPr>
              <a:xfrm>
                <a:off x="10638629" y="2203846"/>
                <a:ext cx="22766" cy="73308"/>
              </a:xfrm>
              <a:custGeom>
                <a:avLst/>
                <a:gdLst>
                  <a:gd name="connsiteX0" fmla="*/ 0 w 22766"/>
                  <a:gd name="connsiteY0" fmla="*/ 73309 h 73308"/>
                  <a:gd name="connsiteX1" fmla="*/ 22767 w 22766"/>
                  <a:gd name="connsiteY1" fmla="*/ 73309 h 73308"/>
                  <a:gd name="connsiteX2" fmla="*/ 22767 w 22766"/>
                  <a:gd name="connsiteY2" fmla="*/ 0 h 73308"/>
                  <a:gd name="connsiteX3" fmla="*/ 0 w 22766"/>
                  <a:gd name="connsiteY3" fmla="*/ 22767 h 73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766" h="73308">
                    <a:moveTo>
                      <a:pt x="0" y="73309"/>
                    </a:moveTo>
                    <a:lnTo>
                      <a:pt x="22767" y="73309"/>
                    </a:lnTo>
                    <a:lnTo>
                      <a:pt x="22767" y="0"/>
                    </a:lnTo>
                    <a:lnTo>
                      <a:pt x="0" y="22767"/>
                    </a:ln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116" name="Freeform 91">
                <a:extLst>
                  <a:ext uri="{FF2B5EF4-FFF2-40B4-BE49-F238E27FC236}">
                    <a16:creationId xmlns:a16="http://schemas.microsoft.com/office/drawing/2014/main" id="{910266CA-B0E8-EF75-8AF8-BED23471D487}"/>
                  </a:ext>
                </a:extLst>
              </p:cNvPr>
              <p:cNvSpPr/>
              <p:nvPr/>
            </p:nvSpPr>
            <p:spPr>
              <a:xfrm>
                <a:off x="11048430" y="1958420"/>
                <a:ext cx="22766" cy="318734"/>
              </a:xfrm>
              <a:custGeom>
                <a:avLst/>
                <a:gdLst>
                  <a:gd name="connsiteX0" fmla="*/ 0 w 22766"/>
                  <a:gd name="connsiteY0" fmla="*/ 0 h 318734"/>
                  <a:gd name="connsiteX1" fmla="*/ 22767 w 22766"/>
                  <a:gd name="connsiteY1" fmla="*/ 0 h 318734"/>
                  <a:gd name="connsiteX2" fmla="*/ 22767 w 22766"/>
                  <a:gd name="connsiteY2" fmla="*/ 318734 h 318734"/>
                  <a:gd name="connsiteX3" fmla="*/ 0 w 22766"/>
                  <a:gd name="connsiteY3" fmla="*/ 318734 h 318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766" h="318734">
                    <a:moveTo>
                      <a:pt x="0" y="0"/>
                    </a:moveTo>
                    <a:lnTo>
                      <a:pt x="22767" y="0"/>
                    </a:lnTo>
                    <a:lnTo>
                      <a:pt x="22767" y="318734"/>
                    </a:lnTo>
                    <a:lnTo>
                      <a:pt x="0" y="318734"/>
                    </a:ln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  <p:sp>
            <p:nvSpPr>
              <p:cNvPr id="117" name="Freeform 92">
                <a:extLst>
                  <a:ext uri="{FF2B5EF4-FFF2-40B4-BE49-F238E27FC236}">
                    <a16:creationId xmlns:a16="http://schemas.microsoft.com/office/drawing/2014/main" id="{8CBCAF0D-27DB-25F6-0D13-A057E13E0032}"/>
                  </a:ext>
                </a:extLst>
              </p:cNvPr>
              <p:cNvSpPr/>
              <p:nvPr/>
            </p:nvSpPr>
            <p:spPr>
              <a:xfrm>
                <a:off x="10797996" y="1799053"/>
                <a:ext cx="114061" cy="182133"/>
              </a:xfrm>
              <a:custGeom>
                <a:avLst/>
                <a:gdLst>
                  <a:gd name="connsiteX0" fmla="*/ 22767 w 114061"/>
                  <a:gd name="connsiteY0" fmla="*/ 182134 h 182133"/>
                  <a:gd name="connsiteX1" fmla="*/ 22994 w 114061"/>
                  <a:gd name="connsiteY1" fmla="*/ 22767 h 182133"/>
                  <a:gd name="connsiteX2" fmla="*/ 91295 w 114061"/>
                  <a:gd name="connsiteY2" fmla="*/ 22767 h 182133"/>
                  <a:gd name="connsiteX3" fmla="*/ 91295 w 114061"/>
                  <a:gd name="connsiteY3" fmla="*/ 164148 h 182133"/>
                  <a:gd name="connsiteX4" fmla="*/ 114061 w 114061"/>
                  <a:gd name="connsiteY4" fmla="*/ 141382 h 182133"/>
                  <a:gd name="connsiteX5" fmla="*/ 114061 w 114061"/>
                  <a:gd name="connsiteY5" fmla="*/ 0 h 182133"/>
                  <a:gd name="connsiteX6" fmla="*/ 228 w 114061"/>
                  <a:gd name="connsiteY6" fmla="*/ 0 h 182133"/>
                  <a:gd name="connsiteX7" fmla="*/ 0 w 114061"/>
                  <a:gd name="connsiteY7" fmla="*/ 182134 h 182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061" h="182133">
                    <a:moveTo>
                      <a:pt x="22767" y="182134"/>
                    </a:moveTo>
                    <a:lnTo>
                      <a:pt x="22994" y="22767"/>
                    </a:lnTo>
                    <a:lnTo>
                      <a:pt x="91295" y="22767"/>
                    </a:lnTo>
                    <a:lnTo>
                      <a:pt x="91295" y="164148"/>
                    </a:lnTo>
                    <a:lnTo>
                      <a:pt x="114061" y="141382"/>
                    </a:lnTo>
                    <a:lnTo>
                      <a:pt x="114061" y="0"/>
                    </a:lnTo>
                    <a:lnTo>
                      <a:pt x="228" y="0"/>
                    </a:lnTo>
                    <a:lnTo>
                      <a:pt x="0" y="182134"/>
                    </a:lnTo>
                    <a:close/>
                  </a:path>
                </a:pathLst>
              </a:custGeom>
              <a:grpFill/>
              <a:ln w="22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8" name="Content Placeholder 17">
            <a:extLst>
              <a:ext uri="{FF2B5EF4-FFF2-40B4-BE49-F238E27FC236}">
                <a16:creationId xmlns:a16="http://schemas.microsoft.com/office/drawing/2014/main" id="{5357DFE4-4774-68FA-E658-5180EC21BD05}"/>
              </a:ext>
            </a:extLst>
          </p:cNvPr>
          <p:cNvSpPr txBox="1">
            <a:spLocks/>
          </p:cNvSpPr>
          <p:nvPr/>
        </p:nvSpPr>
        <p:spPr>
          <a:xfrm>
            <a:off x="706722" y="6488234"/>
            <a:ext cx="8279016" cy="19831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17346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Graphik" panose="020B0503030202060203" pitchFamily="34" charset="0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32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648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tabLst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864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80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28594" indent="-182029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tabLst/>
              <a:defRPr sz="2133" b="0" i="0" kern="1200" cap="none" baseline="0">
                <a:solidFill>
                  <a:schemeClr val="tx2"/>
                </a:solidFill>
                <a:latin typeface="+mn-lt"/>
                <a:ea typeface="Arial Bold" charset="0"/>
                <a:cs typeface="Arial Bold" charset="0"/>
              </a:defRPr>
            </a:lvl6pPr>
            <a:lvl7pPr marL="0" indent="0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1" i="0" kern="1200" cap="none" baseline="0">
                <a:solidFill>
                  <a:schemeClr val="tx1"/>
                </a:solidFill>
                <a:latin typeface="+mn-lt"/>
                <a:ea typeface="Arial Bold" charset="0"/>
                <a:cs typeface="Arial Bold" charset="0"/>
              </a:defRPr>
            </a:lvl7pPr>
            <a:lvl8pPr marL="0" indent="0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0" i="0" kern="1200" cap="none" baseline="0">
                <a:solidFill>
                  <a:schemeClr val="tx1"/>
                </a:solidFill>
                <a:latin typeface="+mn-lt"/>
                <a:ea typeface="Arial Bold" charset="0"/>
                <a:cs typeface="Arial Bold" charset="0"/>
              </a:defRPr>
            </a:lvl8pPr>
            <a:lvl9pPr marL="192613" indent="-192613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tabLst/>
              <a:defRPr sz="1867" b="0" i="0" kern="1200" cap="none" baseline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9pPr>
          </a:lstStyle>
          <a:p>
            <a:pPr marL="0" marR="0" lvl="0" indent="0" algn="l" defTabSz="17346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rPr>
              <a:t>Fonte: Elaboração</a:t>
            </a:r>
            <a:r>
              <a:rPr lang="pt-BR" dirty="0">
                <a:solidFill>
                  <a:srgbClr val="000000">
                    <a:lumMod val="50000"/>
                    <a:lumOff val="50000"/>
                  </a:srgbClr>
                </a:solidFill>
              </a:rPr>
              <a:t>o Accenture.</a:t>
            </a:r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838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AB4E39-E30E-FE93-5468-AC30FEF3C9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6D22CC-C406-A8CC-9585-FDF8E7824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0" y="6488234"/>
            <a:ext cx="4114800" cy="198318"/>
          </a:xfr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5573F8-AB97-C846-60CB-202117F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</p:spPr>
        <p:txBody>
          <a:bodyPr/>
          <a:lstStyle/>
          <a:p>
            <a:fld id="{1F90F471-3972-4120-B8B3-0237DE626C35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E802C8-6229-F9CD-D8EB-539C5F89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0276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Templat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Graphik">
      <a:majorFont>
        <a:latin typeface="Graphik Semibold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6BFFC05-B2F6-4CED-BE65-F75B1EB7AD7B}">
  <ds:schemaRefs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f09dec34-126f-4759-b06d-a920de720ce4"/>
    <ds:schemaRef ds:uri="http://schemas.openxmlformats.org/package/2006/metadata/core-properties"/>
    <ds:schemaRef ds:uri="http://schemas.microsoft.com/office/infopath/2007/PartnerControls"/>
    <ds:schemaRef ds:uri="17c09f85-56e7-4417-b5d2-7fa4154de31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_PPT_Template_Graphik</Template>
  <TotalTime>68</TotalTime>
  <Words>129</Words>
  <Application>Microsoft Office PowerPoint</Application>
  <PresentationFormat>Widescreen</PresentationFormat>
  <Paragraphs>34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Graphik</vt:lpstr>
      <vt:lpstr>Graphik Medium</vt:lpstr>
      <vt:lpstr>Graphik Semibold</vt:lpstr>
      <vt:lpstr>Accenture Templat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Accenture PowerPoint Template 16x9 Graphik</dc:subject>
  <dc:creator>Graciotti, Brenno</dc:creator>
  <cp:lastModifiedBy>Graciotti, Brenno</cp:lastModifiedBy>
  <cp:revision>5</cp:revision>
  <cp:lastPrinted>2020-11-17T04:05:48Z</cp:lastPrinted>
  <dcterms:created xsi:type="dcterms:W3CDTF">2023-07-17T21:32:38Z</dcterms:created>
  <dcterms:modified xsi:type="dcterms:W3CDTF">2025-10-31T23:30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